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13" r:id="rId3"/>
    <p:sldId id="1214" r:id="rId4"/>
    <p:sldId id="1215" r:id="rId5"/>
    <p:sldId id="1216" r:id="rId6"/>
    <p:sldId id="1217" r:id="rId7"/>
    <p:sldId id="1218" r:id="rId8"/>
    <p:sldId id="1219" r:id="rId9"/>
    <p:sldId id="1220" r:id="rId10"/>
    <p:sldId id="1221" r:id="rId11"/>
    <p:sldId id="1222" r:id="rId12"/>
    <p:sldId id="1223" r:id="rId13"/>
    <p:sldId id="1224" r:id="rId14"/>
    <p:sldId id="1225" r:id="rId15"/>
    <p:sldId id="1226" r:id="rId16"/>
    <p:sldId id="1227" r:id="rId17"/>
    <p:sldId id="1228" r:id="rId18"/>
    <p:sldId id="1229" r:id="rId19"/>
    <p:sldId id="1230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38" r:id="rId28"/>
    <p:sldId id="1239" r:id="rId29"/>
    <p:sldId id="1240" r:id="rId30"/>
    <p:sldId id="1241" r:id="rId31"/>
    <p:sldId id="1242" r:id="rId32"/>
    <p:sldId id="1243" r:id="rId33"/>
    <p:sldId id="124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452</c:v>
                </c:pt>
                <c:pt idx="1">
                  <c:v>2478</c:v>
                </c:pt>
                <c:pt idx="2">
                  <c:v>2667</c:v>
                </c:pt>
                <c:pt idx="3">
                  <c:v>2517</c:v>
                </c:pt>
                <c:pt idx="4">
                  <c:v>2343</c:v>
                </c:pt>
                <c:pt idx="5">
                  <c:v>2212</c:v>
                </c:pt>
                <c:pt idx="6">
                  <c:v>2118</c:v>
                </c:pt>
                <c:pt idx="7">
                  <c:v>1880</c:v>
                </c:pt>
                <c:pt idx="8">
                  <c:v>1861</c:v>
                </c:pt>
                <c:pt idx="9">
                  <c:v>1978</c:v>
                </c:pt>
                <c:pt idx="10">
                  <c:v>1821</c:v>
                </c:pt>
                <c:pt idx="11">
                  <c:v>1709</c:v>
                </c:pt>
                <c:pt idx="12">
                  <c:v>1611</c:v>
                </c:pt>
                <c:pt idx="13">
                  <c:v>1523</c:v>
                </c:pt>
                <c:pt idx="14">
                  <c:v>1325</c:v>
                </c:pt>
                <c:pt idx="15">
                  <c:v>1312</c:v>
                </c:pt>
                <c:pt idx="16">
                  <c:v>1392</c:v>
                </c:pt>
                <c:pt idx="17">
                  <c:v>1255</c:v>
                </c:pt>
                <c:pt idx="18">
                  <c:v>1147</c:v>
                </c:pt>
                <c:pt idx="19">
                  <c:v>1056</c:v>
                </c:pt>
                <c:pt idx="20">
                  <c:v>1008</c:v>
                </c:pt>
                <c:pt idx="21">
                  <c:v>865</c:v>
                </c:pt>
                <c:pt idx="22">
                  <c:v>846</c:v>
                </c:pt>
                <c:pt idx="23">
                  <c:v>877</c:v>
                </c:pt>
                <c:pt idx="24">
                  <c:v>786</c:v>
                </c:pt>
                <c:pt idx="25">
                  <c:v>760</c:v>
                </c:pt>
                <c:pt idx="26">
                  <c:v>669</c:v>
                </c:pt>
                <c:pt idx="27">
                  <c:v>611</c:v>
                </c:pt>
                <c:pt idx="28">
                  <c:v>515</c:v>
                </c:pt>
                <c:pt idx="29">
                  <c:v>514</c:v>
                </c:pt>
                <c:pt idx="30">
                  <c:v>551</c:v>
                </c:pt>
                <c:pt idx="31">
                  <c:v>477</c:v>
                </c:pt>
                <c:pt idx="32">
                  <c:v>441</c:v>
                </c:pt>
                <c:pt idx="33">
                  <c:v>394</c:v>
                </c:pt>
                <c:pt idx="34">
                  <c:v>366</c:v>
                </c:pt>
                <c:pt idx="35">
                  <c:v>303</c:v>
                </c:pt>
                <c:pt idx="36">
                  <c:v>301</c:v>
                </c:pt>
                <c:pt idx="37">
                  <c:v>301</c:v>
                </c:pt>
                <c:pt idx="38">
                  <c:v>283</c:v>
                </c:pt>
                <c:pt idx="39">
                  <c:v>256</c:v>
                </c:pt>
                <c:pt idx="40">
                  <c:v>235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02.82615079301877</c:v>
                </c:pt>
                <c:pt idx="32">
                  <c:v>465.44454499131621</c:v>
                </c:pt>
                <c:pt idx="33">
                  <c:v>430.63470350173083</c:v>
                </c:pt>
                <c:pt idx="34">
                  <c:v>397.92441638020136</c:v>
                </c:pt>
                <c:pt idx="35">
                  <c:v>367.65085148759994</c:v>
                </c:pt>
                <c:pt idx="36">
                  <c:v>340.55668736680252</c:v>
                </c:pt>
                <c:pt idx="37">
                  <c:v>315.42744916638338</c:v>
                </c:pt>
                <c:pt idx="38">
                  <c:v>291.20712875673195</c:v>
                </c:pt>
                <c:pt idx="39">
                  <c:v>268.36195862221638</c:v>
                </c:pt>
                <c:pt idx="40">
                  <c:v>247.00770742687581</c:v>
                </c:pt>
                <c:pt idx="41">
                  <c:v>227.11869602500252</c:v>
                </c:pt>
                <c:pt idx="42">
                  <c:v>209.12903255862668</c:v>
                </c:pt>
                <c:pt idx="43">
                  <c:v>192.87002923741076</c:v>
                </c:pt>
                <c:pt idx="44">
                  <c:v>177.56007747230865</c:v>
                </c:pt>
                <c:pt idx="45">
                  <c:v>162.80853550591686</c:v>
                </c:pt>
                <c:pt idx="46">
                  <c:v>149.02483968013385</c:v>
                </c:pt>
                <c:pt idx="47">
                  <c:v>136.23089620639243</c:v>
                </c:pt>
                <c:pt idx="48">
                  <c:v>124.3598255630603</c:v>
                </c:pt>
                <c:pt idx="49">
                  <c:v>113.33568154217264</c:v>
                </c:pt>
                <c:pt idx="50">
                  <c:v>103.20351147261255</c:v>
                </c:pt>
                <c:pt idx="51">
                  <c:v>93.61228851376535</c:v>
                </c:pt>
                <c:pt idx="52">
                  <c:v>84.605095515771893</c:v>
                </c:pt>
                <c:pt idx="53">
                  <c:v>76.208644947896431</c:v>
                </c:pt>
                <c:pt idx="54">
                  <c:v>68.342205845103308</c:v>
                </c:pt>
                <c:pt idx="55">
                  <c:v>60.959015384547733</c:v>
                </c:pt>
                <c:pt idx="56">
                  <c:v>54.053853708658629</c:v>
                </c:pt>
                <c:pt idx="57">
                  <c:v>47.655241352545289</c:v>
                </c:pt>
                <c:pt idx="58">
                  <c:v>41.561318615624046</c:v>
                </c:pt>
                <c:pt idx="59">
                  <c:v>35.954308724433453</c:v>
                </c:pt>
                <c:pt idx="60">
                  <c:v>30.67759358561889</c:v>
                </c:pt>
                <c:pt idx="61">
                  <c:v>25.678453536464563</c:v>
                </c:pt>
                <c:pt idx="62">
                  <c:v>20.964634800522497</c:v>
                </c:pt>
                <c:pt idx="63">
                  <c:v>16.632971968466009</c:v>
                </c:pt>
                <c:pt idx="64">
                  <c:v>12.567537457544914</c:v>
                </c:pt>
                <c:pt idx="65">
                  <c:v>8.7113642941920748</c:v>
                </c:pt>
                <c:pt idx="66">
                  <c:v>5.1209448104887887</c:v>
                </c:pt>
                <c:pt idx="67">
                  <c:v>1.7977631462538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FE-4410-BF3D-17A1191D0985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FE-4410-BF3D-17A1191D0985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03.97789751512971</c:v>
                </c:pt>
                <c:pt idx="32">
                  <c:v>468.53803363752587</c:v>
                </c:pt>
                <c:pt idx="33">
                  <c:v>436.12426831847665</c:v>
                </c:pt>
                <c:pt idx="34">
                  <c:v>406.05947988694726</c:v>
                </c:pt>
                <c:pt idx="35">
                  <c:v>378.74513485070753</c:v>
                </c:pt>
                <c:pt idx="36">
                  <c:v>355.0596468544573</c:v>
                </c:pt>
                <c:pt idx="37">
                  <c:v>333.87344550647214</c:v>
                </c:pt>
                <c:pt idx="38">
                  <c:v>314.05975082707744</c:v>
                </c:pt>
                <c:pt idx="39">
                  <c:v>295.87129027434474</c:v>
                </c:pt>
                <c:pt idx="40">
                  <c:v>279.3250229769896</c:v>
                </c:pt>
                <c:pt idx="41">
                  <c:v>264.31671331592054</c:v>
                </c:pt>
                <c:pt idx="42">
                  <c:v>251.33573264781677</c:v>
                </c:pt>
                <c:pt idx="43">
                  <c:v>240.19736470249649</c:v>
                </c:pt>
                <c:pt idx="44">
                  <c:v>230.03076522160825</c:v>
                </c:pt>
                <c:pt idx="45">
                  <c:v>220.36490432488688</c:v>
                </c:pt>
                <c:pt idx="46">
                  <c:v>211.49647664260823</c:v>
                </c:pt>
                <c:pt idx="47">
                  <c:v>203.44413696782615</c:v>
                </c:pt>
                <c:pt idx="48">
                  <c:v>196.17625426863813</c:v>
                </c:pt>
                <c:pt idx="49">
                  <c:v>189.55929816541209</c:v>
                </c:pt>
                <c:pt idx="50">
                  <c:v>183.62183653489916</c:v>
                </c:pt>
                <c:pt idx="51">
                  <c:v>178.03615524894909</c:v>
                </c:pt>
                <c:pt idx="52">
                  <c:v>172.7808631729967</c:v>
                </c:pt>
                <c:pt idx="53">
                  <c:v>167.87358510048799</c:v>
                </c:pt>
                <c:pt idx="54">
                  <c:v>163.27744029427544</c:v>
                </c:pt>
                <c:pt idx="55">
                  <c:v>158.9340733921895</c:v>
                </c:pt>
                <c:pt idx="56">
                  <c:v>154.8466341994675</c:v>
                </c:pt>
                <c:pt idx="57">
                  <c:v>151.02137736615251</c:v>
                </c:pt>
                <c:pt idx="58">
                  <c:v>147.29323785213853</c:v>
                </c:pt>
                <c:pt idx="59">
                  <c:v>143.79862751718269</c:v>
                </c:pt>
                <c:pt idx="60">
                  <c:v>140.44985933126023</c:v>
                </c:pt>
                <c:pt idx="61">
                  <c:v>137.18829712889283</c:v>
                </c:pt>
                <c:pt idx="62">
                  <c:v>134.03132657393445</c:v>
                </c:pt>
                <c:pt idx="63">
                  <c:v>131.05546551805205</c:v>
                </c:pt>
                <c:pt idx="64">
                  <c:v>128.18436550493874</c:v>
                </c:pt>
                <c:pt idx="65">
                  <c:v>125.37929547769465</c:v>
                </c:pt>
                <c:pt idx="66">
                  <c:v>122.67780579780758</c:v>
                </c:pt>
                <c:pt idx="67">
                  <c:v>120.05678776835312</c:v>
                </c:pt>
                <c:pt idx="68">
                  <c:v>117.52946459370423</c:v>
                </c:pt>
                <c:pt idx="69">
                  <c:v>115.06716332279878</c:v>
                </c:pt>
                <c:pt idx="70">
                  <c:v>112.69502437738188</c:v>
                </c:pt>
                <c:pt idx="71">
                  <c:v>110.38080367324638</c:v>
                </c:pt>
                <c:pt idx="72">
                  <c:v>108.10055769962938</c:v>
                </c:pt>
                <c:pt idx="73">
                  <c:v>105.88592719014662</c:v>
                </c:pt>
                <c:pt idx="74">
                  <c:v>103.74873028981192</c:v>
                </c:pt>
                <c:pt idx="75">
                  <c:v>101.66126118829411</c:v>
                </c:pt>
                <c:pt idx="76">
                  <c:v>99.581150807324946</c:v>
                </c:pt>
                <c:pt idx="77">
                  <c:v>97.614035613730096</c:v>
                </c:pt>
                <c:pt idx="78">
                  <c:v>95.664161887779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FE-4410-BF3D-17A1191D098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05.12964423724077</c:v>
                </c:pt>
                <c:pt idx="32">
                  <c:v>471.6635152482387</c:v>
                </c:pt>
                <c:pt idx="33">
                  <c:v>441.65177392864047</c:v>
                </c:pt>
                <c:pt idx="34">
                  <c:v>414.20213946275896</c:v>
                </c:pt>
                <c:pt idx="35">
                  <c:v>389.97010086415906</c:v>
                </c:pt>
                <c:pt idx="36">
                  <c:v>370.0042581651187</c:v>
                </c:pt>
                <c:pt idx="37">
                  <c:v>353.30070826762477</c:v>
                </c:pt>
                <c:pt idx="38">
                  <c:v>338.73737229808228</c:v>
                </c:pt>
                <c:pt idx="39">
                  <c:v>326.24315534371993</c:v>
                </c:pt>
                <c:pt idx="40">
                  <c:v>315.71989351086125</c:v>
                </c:pt>
                <c:pt idx="41">
                  <c:v>307.14496448702016</c:v>
                </c:pt>
                <c:pt idx="42">
                  <c:v>301.12272063722412</c:v>
                </c:pt>
                <c:pt idx="43">
                  <c:v>297.4906919161844</c:v>
                </c:pt>
                <c:pt idx="44">
                  <c:v>295.22727368735781</c:v>
                </c:pt>
                <c:pt idx="45">
                  <c:v>293.79348254363885</c:v>
                </c:pt>
                <c:pt idx="46">
                  <c:v>293.36459142813123</c:v>
                </c:pt>
                <c:pt idx="47">
                  <c:v>294.04133153686001</c:v>
                </c:pt>
                <c:pt idx="48">
                  <c:v>295.79985478544597</c:v>
                </c:pt>
                <c:pt idx="49">
                  <c:v>298.49237085486857</c:v>
                </c:pt>
                <c:pt idx="50">
                  <c:v>302.11914668770544</c:v>
                </c:pt>
                <c:pt idx="51">
                  <c:v>306.22636883227852</c:v>
                </c:pt>
                <c:pt idx="52">
                  <c:v>310.77859970425067</c:v>
                </c:pt>
                <c:pt idx="53">
                  <c:v>315.86956750970148</c:v>
                </c:pt>
                <c:pt idx="54">
                  <c:v>321.47159911662339</c:v>
                </c:pt>
                <c:pt idx="55">
                  <c:v>327.48974036347329</c:v>
                </c:pt>
                <c:pt idx="56">
                  <c:v>333.87667238349968</c:v>
                </c:pt>
                <c:pt idx="57">
                  <c:v>340.67696373429254</c:v>
                </c:pt>
                <c:pt idx="58">
                  <c:v>347.69022927574213</c:v>
                </c:pt>
                <c:pt idx="59">
                  <c:v>355.04261233346358</c:v>
                </c:pt>
                <c:pt idx="60">
                  <c:v>362.70396812488468</c:v>
                </c:pt>
                <c:pt idx="61">
                  <c:v>370.55691956272051</c:v>
                </c:pt>
                <c:pt idx="62">
                  <c:v>378.66441615487236</c:v>
                </c:pt>
                <c:pt idx="63">
                  <c:v>387.07116170486563</c:v>
                </c:pt>
                <c:pt idx="64">
                  <c:v>395.7208595335681</c:v>
                </c:pt>
                <c:pt idx="65">
                  <c:v>404.54248191647264</c:v>
                </c:pt>
                <c:pt idx="66">
                  <c:v>413.62897144805686</c:v>
                </c:pt>
                <c:pt idx="67">
                  <c:v>422.92925480807207</c:v>
                </c:pt>
                <c:pt idx="68">
                  <c:v>432.44426915800068</c:v>
                </c:pt>
                <c:pt idx="69">
                  <c:v>442.13741454931079</c:v>
                </c:pt>
                <c:pt idx="70">
                  <c:v>452.05953465037157</c:v>
                </c:pt>
                <c:pt idx="71">
                  <c:v>462.20982179541375</c:v>
                </c:pt>
                <c:pt idx="72">
                  <c:v>472.50071943325554</c:v>
                </c:pt>
                <c:pt idx="73">
                  <c:v>483.04339526126444</c:v>
                </c:pt>
                <c:pt idx="74">
                  <c:v>493.82542420356265</c:v>
                </c:pt>
                <c:pt idx="75">
                  <c:v>504.77749470337602</c:v>
                </c:pt>
                <c:pt idx="76">
                  <c:v>515.90857242652885</c:v>
                </c:pt>
                <c:pt idx="77">
                  <c:v>527.29682485019487</c:v>
                </c:pt>
                <c:pt idx="78">
                  <c:v>538.89853031518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FE-4410-BF3D-17A1191D098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2FE-4410-BF3D-17A1191D09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91</c:v>
                </c:pt>
                <c:pt idx="1">
                  <c:v>92</c:v>
                </c:pt>
                <c:pt idx="2">
                  <c:v>95</c:v>
                </c:pt>
                <c:pt idx="3">
                  <c:v>86</c:v>
                </c:pt>
                <c:pt idx="4">
                  <c:v>81</c:v>
                </c:pt>
                <c:pt idx="5">
                  <c:v>65</c:v>
                </c:pt>
                <c:pt idx="6">
                  <c:v>61</c:v>
                </c:pt>
                <c:pt idx="7">
                  <c:v>58</c:v>
                </c:pt>
                <c:pt idx="8">
                  <c:v>62</c:v>
                </c:pt>
                <c:pt idx="9">
                  <c:v>67</c:v>
                </c:pt>
                <c:pt idx="10">
                  <c:v>64</c:v>
                </c:pt>
                <c:pt idx="11">
                  <c:v>65</c:v>
                </c:pt>
                <c:pt idx="12">
                  <c:v>61</c:v>
                </c:pt>
                <c:pt idx="13">
                  <c:v>58</c:v>
                </c:pt>
                <c:pt idx="14">
                  <c:v>46</c:v>
                </c:pt>
                <c:pt idx="15">
                  <c:v>47</c:v>
                </c:pt>
                <c:pt idx="16">
                  <c:v>50</c:v>
                </c:pt>
                <c:pt idx="17">
                  <c:v>48</c:v>
                </c:pt>
                <c:pt idx="18">
                  <c:v>47</c:v>
                </c:pt>
                <c:pt idx="19">
                  <c:v>40</c:v>
                </c:pt>
                <c:pt idx="20">
                  <c:v>37</c:v>
                </c:pt>
                <c:pt idx="21">
                  <c:v>37</c:v>
                </c:pt>
                <c:pt idx="22">
                  <c:v>38</c:v>
                </c:pt>
                <c:pt idx="23">
                  <c:v>37</c:v>
                </c:pt>
                <c:pt idx="24">
                  <c:v>34</c:v>
                </c:pt>
                <c:pt idx="25">
                  <c:v>31</c:v>
                </c:pt>
                <c:pt idx="26">
                  <c:v>28</c:v>
                </c:pt>
                <c:pt idx="27">
                  <c:v>27</c:v>
                </c:pt>
                <c:pt idx="28">
                  <c:v>25</c:v>
                </c:pt>
                <c:pt idx="29">
                  <c:v>25</c:v>
                </c:pt>
                <c:pt idx="30">
                  <c:v>28</c:v>
                </c:pt>
                <c:pt idx="31">
                  <c:v>26</c:v>
                </c:pt>
                <c:pt idx="32">
                  <c:v>24</c:v>
                </c:pt>
                <c:pt idx="33">
                  <c:v>18</c:v>
                </c:pt>
                <c:pt idx="34">
                  <c:v>13</c:v>
                </c:pt>
                <c:pt idx="35">
                  <c:v>12</c:v>
                </c:pt>
                <c:pt idx="36">
                  <c:v>12</c:v>
                </c:pt>
                <c:pt idx="37">
                  <c:v>13</c:v>
                </c:pt>
                <c:pt idx="38">
                  <c:v>11</c:v>
                </c:pt>
                <c:pt idx="39">
                  <c:v>11</c:v>
                </c:pt>
                <c:pt idx="40">
                  <c:v>8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7.412964907344435</c:v>
                </c:pt>
                <c:pt idx="32">
                  <c:v>25.40849845191493</c:v>
                </c:pt>
                <c:pt idx="33">
                  <c:v>23.53562723672437</c:v>
                </c:pt>
                <c:pt idx="34">
                  <c:v>21.780285948243183</c:v>
                </c:pt>
                <c:pt idx="35">
                  <c:v>20.159863773561348</c:v>
                </c:pt>
                <c:pt idx="36">
                  <c:v>18.710273742133356</c:v>
                </c:pt>
                <c:pt idx="37">
                  <c:v>17.370042087352907</c:v>
                </c:pt>
                <c:pt idx="38">
                  <c:v>16.084028808529798</c:v>
                </c:pt>
                <c:pt idx="39">
                  <c:v>14.867234169252997</c:v>
                </c:pt>
                <c:pt idx="40">
                  <c:v>13.726459730797199</c:v>
                </c:pt>
                <c:pt idx="41">
                  <c:v>12.668923993389949</c:v>
                </c:pt>
                <c:pt idx="42">
                  <c:v>11.715180427668168</c:v>
                </c:pt>
                <c:pt idx="43">
                  <c:v>10.854597089267919</c:v>
                </c:pt>
                <c:pt idx="44">
                  <c:v>10.051057018027771</c:v>
                </c:pt>
                <c:pt idx="45">
                  <c:v>9.2789694982715289</c:v>
                </c:pt>
                <c:pt idx="46">
                  <c:v>8.5575543984401161</c:v>
                </c:pt>
                <c:pt idx="47">
                  <c:v>7.8876245191958478</c:v>
                </c:pt>
                <c:pt idx="48">
                  <c:v>7.2695381076657792</c:v>
                </c:pt>
                <c:pt idx="49">
                  <c:v>6.6975386521769051</c:v>
                </c:pt>
                <c:pt idx="50">
                  <c:v>6.1717984631468106</c:v>
                </c:pt>
                <c:pt idx="51">
                  <c:v>5.6773481795221379</c:v>
                </c:pt>
                <c:pt idx="52">
                  <c:v>5.2148282295806778</c:v>
                </c:pt>
                <c:pt idx="53">
                  <c:v>4.783287605930723</c:v>
                </c:pt>
                <c:pt idx="54">
                  <c:v>4.3792485119910012</c:v>
                </c:pt>
                <c:pt idx="55">
                  <c:v>4.0012971683540526</c:v>
                </c:pt>
                <c:pt idx="56">
                  <c:v>3.6476874484042665</c:v>
                </c:pt>
                <c:pt idx="57">
                  <c:v>3.3198822277200968</c:v>
                </c:pt>
                <c:pt idx="58">
                  <c:v>3.0100188609353848</c:v>
                </c:pt>
                <c:pt idx="59">
                  <c:v>2.7249722075665703</c:v>
                </c:pt>
                <c:pt idx="60">
                  <c:v>2.45648327377525</c:v>
                </c:pt>
                <c:pt idx="61">
                  <c:v>2.2015176396806533</c:v>
                </c:pt>
                <c:pt idx="62">
                  <c:v>1.9623767287415812</c:v>
                </c:pt>
                <c:pt idx="63">
                  <c:v>1.742424148238908</c:v>
                </c:pt>
                <c:pt idx="64">
                  <c:v>1.5353628818517269</c:v>
                </c:pt>
                <c:pt idx="65">
                  <c:v>1.3401766911349458</c:v>
                </c:pt>
                <c:pt idx="66">
                  <c:v>1.1587214636011685</c:v>
                </c:pt>
                <c:pt idx="67">
                  <c:v>0.9909244934010244</c:v>
                </c:pt>
                <c:pt idx="68">
                  <c:v>0.83197711186998391</c:v>
                </c:pt>
                <c:pt idx="69">
                  <c:v>0.68441083195283481</c:v>
                </c:pt>
                <c:pt idx="70">
                  <c:v>0.54590990682914398</c:v>
                </c:pt>
                <c:pt idx="71">
                  <c:v>0.41555708813461201</c:v>
                </c:pt>
                <c:pt idx="72">
                  <c:v>0.29284882570148119</c:v>
                </c:pt>
                <c:pt idx="73">
                  <c:v>0.17819494781985834</c:v>
                </c:pt>
                <c:pt idx="74">
                  <c:v>7.32389974767329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C8-4F1E-85EE-9419EEA62996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C8-4F1E-85EE-9419EEA62996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7.47365900034475</c:v>
                </c:pt>
                <c:pt idx="32">
                  <c:v>25.571412614280916</c:v>
                </c:pt>
                <c:pt idx="33">
                  <c:v>23.824197684365675</c:v>
                </c:pt>
                <c:pt idx="34">
                  <c:v>22.206964737886231</c:v>
                </c:pt>
                <c:pt idx="35">
                  <c:v>20.740267631195216</c:v>
                </c:pt>
                <c:pt idx="36">
                  <c:v>19.466940217365419</c:v>
                </c:pt>
                <c:pt idx="37">
                  <c:v>18.329902332975355</c:v>
                </c:pt>
                <c:pt idx="38">
                  <c:v>17.270216401571059</c:v>
                </c:pt>
                <c:pt idx="39">
                  <c:v>16.291777660732478</c:v>
                </c:pt>
                <c:pt idx="40">
                  <c:v>15.396356194816818</c:v>
                </c:pt>
                <c:pt idx="41">
                  <c:v>14.58730638798923</c:v>
                </c:pt>
                <c:pt idx="42">
                  <c:v>13.888291402190376</c:v>
                </c:pt>
                <c:pt idx="43">
                  <c:v>13.288018610850072</c:v>
                </c:pt>
                <c:pt idx="44">
                  <c:v>12.745795004059609</c:v>
                </c:pt>
                <c:pt idx="45">
                  <c:v>12.231899187794966</c:v>
                </c:pt>
                <c:pt idx="46">
                  <c:v>11.75972628819973</c:v>
                </c:pt>
                <c:pt idx="47">
                  <c:v>11.330032786423109</c:v>
                </c:pt>
                <c:pt idx="48">
                  <c:v>10.945150972719654</c:v>
                </c:pt>
                <c:pt idx="49">
                  <c:v>10.596367900149515</c:v>
                </c:pt>
                <c:pt idx="50">
                  <c:v>10.283049850461682</c:v>
                </c:pt>
                <c:pt idx="51">
                  <c:v>9.9914666954789162</c:v>
                </c:pt>
                <c:pt idx="52">
                  <c:v>9.7188886916707098</c:v>
                </c:pt>
                <c:pt idx="53">
                  <c:v>9.463878192151828</c:v>
                </c:pt>
                <c:pt idx="54">
                  <c:v>9.2252988025530769</c:v>
                </c:pt>
                <c:pt idx="55">
                  <c:v>9.0011340239828694</c:v>
                </c:pt>
                <c:pt idx="56">
                  <c:v>8.790067412187323</c:v>
                </c:pt>
                <c:pt idx="57">
                  <c:v>8.5923683741526062</c:v>
                </c:pt>
                <c:pt idx="58">
                  <c:v>8.402102767035128</c:v>
                </c:pt>
                <c:pt idx="59">
                  <c:v>8.2237191373493097</c:v>
                </c:pt>
                <c:pt idx="60">
                  <c:v>8.0525779300041478</c:v>
                </c:pt>
                <c:pt idx="61">
                  <c:v>7.8853293059228813</c:v>
                </c:pt>
                <c:pt idx="62">
                  <c:v>7.7247514857716926</c:v>
                </c:pt>
                <c:pt idx="63">
                  <c:v>7.5731208725473937</c:v>
                </c:pt>
                <c:pt idx="64">
                  <c:v>7.4262264354493386</c:v>
                </c:pt>
                <c:pt idx="65">
                  <c:v>7.2839892376907081</c:v>
                </c:pt>
                <c:pt idx="66">
                  <c:v>7.1472412385397899</c:v>
                </c:pt>
                <c:pt idx="67">
                  <c:v>7.0145868514582554</c:v>
                </c:pt>
                <c:pt idx="68">
                  <c:v>6.8864827124431098</c:v>
                </c:pt>
                <c:pt idx="69">
                  <c:v>6.7617768371312392</c:v>
                </c:pt>
                <c:pt idx="70">
                  <c:v>6.6413148928499659</c:v>
                </c:pt>
                <c:pt idx="71">
                  <c:v>6.5235324790979075</c:v>
                </c:pt>
                <c:pt idx="72">
                  <c:v>6.4081573676611532</c:v>
                </c:pt>
                <c:pt idx="73">
                  <c:v>6.2960096669808658</c:v>
                </c:pt>
                <c:pt idx="74">
                  <c:v>6.1875437061936243</c:v>
                </c:pt>
                <c:pt idx="75">
                  <c:v>6.0816172801945259</c:v>
                </c:pt>
                <c:pt idx="76">
                  <c:v>5.9763384216705742</c:v>
                </c:pt>
                <c:pt idx="77">
                  <c:v>5.8762031663880121</c:v>
                </c:pt>
                <c:pt idx="78">
                  <c:v>5.7770548266127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3C8-4F1E-85EE-9419EEA6299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7.534353093345072</c:v>
                </c:pt>
                <c:pt idx="32">
                  <c:v>25.736012723674698</c:v>
                </c:pt>
                <c:pt idx="33">
                  <c:v>24.114764604864359</c:v>
                </c:pt>
                <c:pt idx="34">
                  <c:v>22.634028309684616</c:v>
                </c:pt>
                <c:pt idx="35">
                  <c:v>21.327533336662796</c:v>
                </c:pt>
                <c:pt idx="36">
                  <c:v>20.246840916935039</c:v>
                </c:pt>
                <c:pt idx="37">
                  <c:v>19.341349770583506</c:v>
                </c:pt>
                <c:pt idx="38">
                  <c:v>18.552247799150692</c:v>
                </c:pt>
                <c:pt idx="39">
                  <c:v>17.866415909307506</c:v>
                </c:pt>
                <c:pt idx="40">
                  <c:v>17.279615688640327</c:v>
                </c:pt>
                <c:pt idx="41">
                  <c:v>16.799703869972504</c:v>
                </c:pt>
                <c:pt idx="42">
                  <c:v>16.45650607072054</c:v>
                </c:pt>
                <c:pt idx="43">
                  <c:v>16.239988189357351</c:v>
                </c:pt>
                <c:pt idx="44">
                  <c:v>16.101578312593798</c:v>
                </c:pt>
                <c:pt idx="45">
                  <c:v>16.008032165648206</c:v>
                </c:pt>
                <c:pt idx="46">
                  <c:v>15.966441903467404</c:v>
                </c:pt>
                <c:pt idx="47">
                  <c:v>15.981977996709558</c:v>
                </c:pt>
                <c:pt idx="48">
                  <c:v>16.05747616041554</c:v>
                </c:pt>
                <c:pt idx="49">
                  <c:v>16.183519987641382</c:v>
                </c:pt>
                <c:pt idx="50">
                  <c:v>16.358035369735962</c:v>
                </c:pt>
                <c:pt idx="51">
                  <c:v>16.560650094433587</c:v>
                </c:pt>
                <c:pt idx="52">
                  <c:v>16.787925192324796</c:v>
                </c:pt>
                <c:pt idx="53">
                  <c:v>17.042484128974372</c:v>
                </c:pt>
                <c:pt idx="54">
                  <c:v>17.323717036219072</c:v>
                </c:pt>
                <c:pt idx="55">
                  <c:v>17.627702630093644</c:v>
                </c:pt>
                <c:pt idx="56">
                  <c:v>17.950486592550067</c:v>
                </c:pt>
                <c:pt idx="57">
                  <c:v>18.294358463934859</c:v>
                </c:pt>
                <c:pt idx="58">
                  <c:v>18.651538926560292</c:v>
                </c:pt>
                <c:pt idx="59">
                  <c:v>19.025932707669419</c:v>
                </c:pt>
                <c:pt idx="60">
                  <c:v>19.415947772198614</c:v>
                </c:pt>
                <c:pt idx="61">
                  <c:v>19.815139917360717</c:v>
                </c:pt>
                <c:pt idx="62">
                  <c:v>20.228673602825545</c:v>
                </c:pt>
                <c:pt idx="63">
                  <c:v>20.657160830649495</c:v>
                </c:pt>
                <c:pt idx="64">
                  <c:v>21.097447717027485</c:v>
                </c:pt>
                <c:pt idx="65">
                  <c:v>21.547757051509631</c:v>
                </c:pt>
                <c:pt idx="66">
                  <c:v>22.011830839304839</c:v>
                </c:pt>
                <c:pt idx="67">
                  <c:v>22.486789558947137</c:v>
                </c:pt>
                <c:pt idx="68">
                  <c:v>22.972425019560504</c:v>
                </c:pt>
                <c:pt idx="69">
                  <c:v>23.467166825138406</c:v>
                </c:pt>
                <c:pt idx="70">
                  <c:v>23.973233627559338</c:v>
                </c:pt>
                <c:pt idx="71">
                  <c:v>24.490713529328463</c:v>
                </c:pt>
                <c:pt idx="72">
                  <c:v>25.015971089913613</c:v>
                </c:pt>
                <c:pt idx="73">
                  <c:v>25.554007432642376</c:v>
                </c:pt>
                <c:pt idx="74">
                  <c:v>26.10401818674724</c:v>
                </c:pt>
                <c:pt idx="75">
                  <c:v>26.662638872024697</c:v>
                </c:pt>
                <c:pt idx="76">
                  <c:v>27.230678383109208</c:v>
                </c:pt>
                <c:pt idx="77">
                  <c:v>27.811181996784835</c:v>
                </c:pt>
                <c:pt idx="78">
                  <c:v>28.4027144757885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3C8-4F1E-85EE-9419EEA62996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3C8-4F1E-85EE-9419EEA629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11</c:v>
                </c:pt>
                <c:pt idx="1">
                  <c:v>111</c:v>
                </c:pt>
                <c:pt idx="2">
                  <c:v>121</c:v>
                </c:pt>
                <c:pt idx="3">
                  <c:v>114</c:v>
                </c:pt>
                <c:pt idx="4">
                  <c:v>106</c:v>
                </c:pt>
                <c:pt idx="5">
                  <c:v>96</c:v>
                </c:pt>
                <c:pt idx="6">
                  <c:v>86</c:v>
                </c:pt>
                <c:pt idx="7">
                  <c:v>75</c:v>
                </c:pt>
                <c:pt idx="8">
                  <c:v>74</c:v>
                </c:pt>
                <c:pt idx="9">
                  <c:v>79</c:v>
                </c:pt>
                <c:pt idx="10">
                  <c:v>67</c:v>
                </c:pt>
                <c:pt idx="11">
                  <c:v>68</c:v>
                </c:pt>
                <c:pt idx="12">
                  <c:v>65</c:v>
                </c:pt>
                <c:pt idx="13">
                  <c:v>59</c:v>
                </c:pt>
                <c:pt idx="14">
                  <c:v>52</c:v>
                </c:pt>
                <c:pt idx="15">
                  <c:v>52</c:v>
                </c:pt>
                <c:pt idx="16">
                  <c:v>60</c:v>
                </c:pt>
                <c:pt idx="17">
                  <c:v>49</c:v>
                </c:pt>
                <c:pt idx="18">
                  <c:v>50</c:v>
                </c:pt>
                <c:pt idx="19">
                  <c:v>43</c:v>
                </c:pt>
                <c:pt idx="20">
                  <c:v>45</c:v>
                </c:pt>
                <c:pt idx="21">
                  <c:v>34</c:v>
                </c:pt>
                <c:pt idx="22">
                  <c:v>35</c:v>
                </c:pt>
                <c:pt idx="23">
                  <c:v>39</c:v>
                </c:pt>
                <c:pt idx="24">
                  <c:v>33</c:v>
                </c:pt>
                <c:pt idx="25">
                  <c:v>37</c:v>
                </c:pt>
                <c:pt idx="26">
                  <c:v>33</c:v>
                </c:pt>
                <c:pt idx="27">
                  <c:v>34</c:v>
                </c:pt>
                <c:pt idx="28">
                  <c:v>21</c:v>
                </c:pt>
                <c:pt idx="29">
                  <c:v>20</c:v>
                </c:pt>
                <c:pt idx="30">
                  <c:v>23</c:v>
                </c:pt>
                <c:pt idx="31">
                  <c:v>17</c:v>
                </c:pt>
                <c:pt idx="32">
                  <c:v>19</c:v>
                </c:pt>
                <c:pt idx="33">
                  <c:v>15</c:v>
                </c:pt>
                <c:pt idx="34">
                  <c:v>17</c:v>
                </c:pt>
                <c:pt idx="35">
                  <c:v>13</c:v>
                </c:pt>
                <c:pt idx="36">
                  <c:v>14</c:v>
                </c:pt>
                <c:pt idx="37">
                  <c:v>15</c:v>
                </c:pt>
                <c:pt idx="38">
                  <c:v>13</c:v>
                </c:pt>
                <c:pt idx="39">
                  <c:v>12</c:v>
                </c:pt>
                <c:pt idx="40">
                  <c:v>14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8.802960489921272</c:v>
                </c:pt>
                <c:pt idx="32">
                  <c:v>17.399786490807195</c:v>
                </c:pt>
                <c:pt idx="33">
                  <c:v>16.094146493734364</c:v>
                </c:pt>
                <c:pt idx="34">
                  <c:v>14.866532627840034</c:v>
                </c:pt>
                <c:pt idx="35">
                  <c:v>13.729710332959145</c:v>
                </c:pt>
                <c:pt idx="36">
                  <c:v>12.712176571564697</c:v>
                </c:pt>
                <c:pt idx="37">
                  <c:v>11.767766338002774</c:v>
                </c:pt>
                <c:pt idx="38">
                  <c:v>10.856605591094819</c:v>
                </c:pt>
                <c:pt idx="39">
                  <c:v>9.9977789716554675</c:v>
                </c:pt>
                <c:pt idx="40">
                  <c:v>9.1955379675869686</c:v>
                </c:pt>
                <c:pt idx="41">
                  <c:v>8.4475572181622418</c:v>
                </c:pt>
                <c:pt idx="42">
                  <c:v>7.770563102460212</c:v>
                </c:pt>
                <c:pt idx="43">
                  <c:v>7.1584749816307607</c:v>
                </c:pt>
                <c:pt idx="44">
                  <c:v>6.5810362536226572</c:v>
                </c:pt>
                <c:pt idx="45">
                  <c:v>6.0243191480916716</c:v>
                </c:pt>
                <c:pt idx="46">
                  <c:v>5.5041256395912974</c:v>
                </c:pt>
                <c:pt idx="47">
                  <c:v>5.0213353242875582</c:v>
                </c:pt>
                <c:pt idx="48">
                  <c:v>4.5728130102547127</c:v>
                </c:pt>
                <c:pt idx="49">
                  <c:v>4.1559746997120914</c:v>
                </c:pt>
                <c:pt idx="50">
                  <c:v>3.7728666177041488</c:v>
                </c:pt>
                <c:pt idx="51">
                  <c:v>3.4097021167543615</c:v>
                </c:pt>
                <c:pt idx="52">
                  <c:v>3.0683628510955501</c:v>
                </c:pt>
                <c:pt idx="53">
                  <c:v>2.7502290216379679</c:v>
                </c:pt>
                <c:pt idx="54">
                  <c:v>2.4521354581520574</c:v>
                </c:pt>
                <c:pt idx="55">
                  <c:v>2.1721536111152879</c:v>
                </c:pt>
                <c:pt idx="56">
                  <c:v>1.9103197849858917</c:v>
                </c:pt>
                <c:pt idx="57">
                  <c:v>1.6677150647085666</c:v>
                </c:pt>
                <c:pt idx="58">
                  <c:v>1.4362932803735442</c:v>
                </c:pt>
                <c:pt idx="59">
                  <c:v>1.2233531975203933</c:v>
                </c:pt>
                <c:pt idx="60">
                  <c:v>1.0229938851355644</c:v>
                </c:pt>
                <c:pt idx="61">
                  <c:v>0.83326929898115787</c:v>
                </c:pt>
                <c:pt idx="62">
                  <c:v>0.65417146779812074</c:v>
                </c:pt>
                <c:pt idx="63">
                  <c:v>0.48962489455126312</c:v>
                </c:pt>
                <c:pt idx="64">
                  <c:v>0.33529086024450705</c:v>
                </c:pt>
                <c:pt idx="65">
                  <c:v>0.18870815327143275</c:v>
                </c:pt>
                <c:pt idx="66">
                  <c:v>5.21831435447168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31-4089-AF28-5DC97D2FD420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31-4089-AF28-5DC97D2FD420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8.846361629274824</c:v>
                </c:pt>
                <c:pt idx="32">
                  <c:v>17.516374658094161</c:v>
                </c:pt>
                <c:pt idx="33">
                  <c:v>16.301122465710371</c:v>
                </c:pt>
                <c:pt idx="34">
                  <c:v>15.173404951484788</c:v>
                </c:pt>
                <c:pt idx="35">
                  <c:v>14.148445946829765</c:v>
                </c:pt>
                <c:pt idx="36">
                  <c:v>13.259894062195265</c:v>
                </c:pt>
                <c:pt idx="37">
                  <c:v>12.464796510274418</c:v>
                </c:pt>
                <c:pt idx="38">
                  <c:v>11.720623145928688</c:v>
                </c:pt>
                <c:pt idx="39">
                  <c:v>11.038389977087167</c:v>
                </c:pt>
                <c:pt idx="40">
                  <c:v>10.418597260393158</c:v>
                </c:pt>
                <c:pt idx="41">
                  <c:v>9.8559157463009281</c:v>
                </c:pt>
                <c:pt idx="42">
                  <c:v>9.3691230147868865</c:v>
                </c:pt>
                <c:pt idx="43">
                  <c:v>8.9515052869932017</c:v>
                </c:pt>
                <c:pt idx="44">
                  <c:v>8.5694232761407942</c:v>
                </c:pt>
                <c:pt idx="45">
                  <c:v>8.2059032341314264</c:v>
                </c:pt>
                <c:pt idx="46">
                  <c:v>7.872480256771496</c:v>
                </c:pt>
                <c:pt idx="47">
                  <c:v>7.5698931988060831</c:v>
                </c:pt>
                <c:pt idx="48">
                  <c:v>7.2963166743139389</c:v>
                </c:pt>
                <c:pt idx="49">
                  <c:v>7.0469843769268676</c:v>
                </c:pt>
                <c:pt idx="50">
                  <c:v>6.8233116553157789</c:v>
                </c:pt>
                <c:pt idx="51">
                  <c:v>6.6123886554375835</c:v>
                </c:pt>
                <c:pt idx="52">
                  <c:v>6.4136631192391835</c:v>
                </c:pt>
                <c:pt idx="53">
                  <c:v>6.2281740241135584</c:v>
                </c:pt>
                <c:pt idx="54">
                  <c:v>6.0544037548737606</c:v>
                </c:pt>
                <c:pt idx="55">
                  <c:v>5.889985626407765</c:v>
                </c:pt>
                <c:pt idx="56">
                  <c:v>5.7352731383037661</c:v>
                </c:pt>
                <c:pt idx="57">
                  <c:v>5.5905115185699703</c:v>
                </c:pt>
                <c:pt idx="58">
                  <c:v>5.4490427864559656</c:v>
                </c:pt>
                <c:pt idx="59">
                  <c:v>5.3164413309340288</c:v>
                </c:pt>
                <c:pt idx="60">
                  <c:v>5.1894058095358666</c:v>
                </c:pt>
                <c:pt idx="61">
                  <c:v>5.0657678028392938</c:v>
                </c:pt>
                <c:pt idx="62">
                  <c:v>4.9458875196326453</c:v>
                </c:pt>
                <c:pt idx="63">
                  <c:v>4.8329264932059175</c:v>
                </c:pt>
                <c:pt idx="64">
                  <c:v>4.7240374179054268</c:v>
                </c:pt>
                <c:pt idx="65">
                  <c:v>4.6174500154898084</c:v>
                </c:pt>
                <c:pt idx="66">
                  <c:v>4.5147609440102192</c:v>
                </c:pt>
                <c:pt idx="67">
                  <c:v>4.4151275660567277</c:v>
                </c:pt>
                <c:pt idx="68">
                  <c:v>4.3190862148579345</c:v>
                </c:pt>
                <c:pt idx="69">
                  <c:v>4.2254995469828831</c:v>
                </c:pt>
                <c:pt idx="70">
                  <c:v>4.1353908226890974</c:v>
                </c:pt>
                <c:pt idx="71">
                  <c:v>4.0475236437424611</c:v>
                </c:pt>
                <c:pt idx="72">
                  <c:v>3.9608390149925281</c:v>
                </c:pt>
                <c:pt idx="73">
                  <c:v>3.8766634528226014</c:v>
                </c:pt>
                <c:pt idx="74">
                  <c:v>3.7954689813062448</c:v>
                </c:pt>
                <c:pt idx="75">
                  <c:v>3.7161612253071583</c:v>
                </c:pt>
                <c:pt idx="76">
                  <c:v>3.6370896196553706</c:v>
                </c:pt>
                <c:pt idx="77">
                  <c:v>3.5624044474521921</c:v>
                </c:pt>
                <c:pt idx="78">
                  <c:v>3.4883565759064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31-4089-AF28-5DC97D2FD42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8.88976276862838</c:v>
                </c:pt>
                <c:pt idx="32">
                  <c:v>17.634168412585389</c:v>
                </c:pt>
                <c:pt idx="33">
                  <c:v>16.509528617082395</c:v>
                </c:pt>
                <c:pt idx="34">
                  <c:v>15.480565973778676</c:v>
                </c:pt>
                <c:pt idx="35">
                  <c:v>14.572109986869382</c:v>
                </c:pt>
                <c:pt idx="36">
                  <c:v>13.824260554619007</c:v>
                </c:pt>
                <c:pt idx="37">
                  <c:v>13.198823118883215</c:v>
                </c:pt>
                <c:pt idx="38">
                  <c:v>12.653464050539927</c:v>
                </c:pt>
                <c:pt idx="39">
                  <c:v>12.186988832995418</c:v>
                </c:pt>
                <c:pt idx="40">
                  <c:v>11.795550338302565</c:v>
                </c:pt>
                <c:pt idx="41">
                  <c:v>11.476862819817132</c:v>
                </c:pt>
                <c:pt idx="42">
                  <c:v>11.254020319339521</c:v>
                </c:pt>
                <c:pt idx="43">
                  <c:v>11.121133705545684</c:v>
                </c:pt>
                <c:pt idx="44">
                  <c:v>11.038872186409552</c:v>
                </c:pt>
                <c:pt idx="45">
                  <c:v>10.987692127001967</c:v>
                </c:pt>
                <c:pt idx="46">
                  <c:v>10.97453795503575</c:v>
                </c:pt>
                <c:pt idx="47">
                  <c:v>11.003227339792586</c:v>
                </c:pt>
                <c:pt idx="48">
                  <c:v>11.072213403875582</c:v>
                </c:pt>
                <c:pt idx="49">
                  <c:v>11.176184882080097</c:v>
                </c:pt>
                <c:pt idx="50">
                  <c:v>11.315482584828432</c:v>
                </c:pt>
                <c:pt idx="51">
                  <c:v>11.472444392424466</c:v>
                </c:pt>
                <c:pt idx="52">
                  <c:v>11.645983828125297</c:v>
                </c:pt>
                <c:pt idx="53">
                  <c:v>11.839999641608873</c:v>
                </c:pt>
                <c:pt idx="54">
                  <c:v>12.053314643769827</c:v>
                </c:pt>
                <c:pt idx="55">
                  <c:v>12.282179219111809</c:v>
                </c:pt>
                <c:pt idx="56">
                  <c:v>12.525041625646484</c:v>
                </c:pt>
                <c:pt idx="57">
                  <c:v>12.783590697487002</c:v>
                </c:pt>
                <c:pt idx="58">
                  <c:v>13.049834939913572</c:v>
                </c:pt>
                <c:pt idx="59">
                  <c:v>13.328962220600886</c:v>
                </c:pt>
                <c:pt idx="60">
                  <c:v>13.619837148769658</c:v>
                </c:pt>
                <c:pt idx="61">
                  <c:v>13.918077598301576</c:v>
                </c:pt>
                <c:pt idx="62">
                  <c:v>14.225763108558541</c:v>
                </c:pt>
                <c:pt idx="63">
                  <c:v>14.544854448366113</c:v>
                </c:pt>
                <c:pt idx="64">
                  <c:v>14.873259846463185</c:v>
                </c:pt>
                <c:pt idx="65">
                  <c:v>15.207991410469054</c:v>
                </c:pt>
                <c:pt idx="66">
                  <c:v>15.552734560330777</c:v>
                </c:pt>
                <c:pt idx="67">
                  <c:v>15.905594497821037</c:v>
                </c:pt>
                <c:pt idx="68">
                  <c:v>16.266647336117206</c:v>
                </c:pt>
                <c:pt idx="69">
                  <c:v>16.634457127240889</c:v>
                </c:pt>
                <c:pt idx="70">
                  <c:v>17.011012775341804</c:v>
                </c:pt>
                <c:pt idx="71">
                  <c:v>17.396263148988574</c:v>
                </c:pt>
                <c:pt idx="72">
                  <c:v>17.786753867472672</c:v>
                </c:pt>
                <c:pt idx="73">
                  <c:v>18.186809813057828</c:v>
                </c:pt>
                <c:pt idx="74">
                  <c:v>18.595986468735106</c:v>
                </c:pt>
                <c:pt idx="75">
                  <c:v>19.011626348432952</c:v>
                </c:pt>
                <c:pt idx="76">
                  <c:v>19.434014016801513</c:v>
                </c:pt>
                <c:pt idx="77">
                  <c:v>19.866265155204644</c:v>
                </c:pt>
                <c:pt idx="78">
                  <c:v>20.306594596913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31-4089-AF28-5DC97D2FD420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31-4089-AF28-5DC97D2FD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27</c:v>
                </c:pt>
                <c:pt idx="1">
                  <c:v>344</c:v>
                </c:pt>
                <c:pt idx="2">
                  <c:v>348</c:v>
                </c:pt>
                <c:pt idx="3">
                  <c:v>321</c:v>
                </c:pt>
                <c:pt idx="4">
                  <c:v>312</c:v>
                </c:pt>
                <c:pt idx="5">
                  <c:v>306</c:v>
                </c:pt>
                <c:pt idx="6">
                  <c:v>303</c:v>
                </c:pt>
                <c:pt idx="7">
                  <c:v>263</c:v>
                </c:pt>
                <c:pt idx="8">
                  <c:v>269</c:v>
                </c:pt>
                <c:pt idx="9">
                  <c:v>280</c:v>
                </c:pt>
                <c:pt idx="10">
                  <c:v>266</c:v>
                </c:pt>
                <c:pt idx="11">
                  <c:v>245</c:v>
                </c:pt>
                <c:pt idx="12">
                  <c:v>231</c:v>
                </c:pt>
                <c:pt idx="13">
                  <c:v>229</c:v>
                </c:pt>
                <c:pt idx="14">
                  <c:v>209</c:v>
                </c:pt>
                <c:pt idx="15">
                  <c:v>210</c:v>
                </c:pt>
                <c:pt idx="16">
                  <c:v>220</c:v>
                </c:pt>
                <c:pt idx="17">
                  <c:v>200</c:v>
                </c:pt>
                <c:pt idx="18">
                  <c:v>166</c:v>
                </c:pt>
                <c:pt idx="19">
                  <c:v>147</c:v>
                </c:pt>
                <c:pt idx="20">
                  <c:v>138</c:v>
                </c:pt>
                <c:pt idx="21">
                  <c:v>126</c:v>
                </c:pt>
                <c:pt idx="22">
                  <c:v>125</c:v>
                </c:pt>
                <c:pt idx="23">
                  <c:v>131</c:v>
                </c:pt>
                <c:pt idx="24">
                  <c:v>120</c:v>
                </c:pt>
                <c:pt idx="25">
                  <c:v>118</c:v>
                </c:pt>
                <c:pt idx="26">
                  <c:v>107</c:v>
                </c:pt>
                <c:pt idx="27">
                  <c:v>97</c:v>
                </c:pt>
                <c:pt idx="28">
                  <c:v>85</c:v>
                </c:pt>
                <c:pt idx="29">
                  <c:v>89</c:v>
                </c:pt>
                <c:pt idx="30">
                  <c:v>88</c:v>
                </c:pt>
                <c:pt idx="31">
                  <c:v>70</c:v>
                </c:pt>
                <c:pt idx="32">
                  <c:v>65</c:v>
                </c:pt>
                <c:pt idx="33">
                  <c:v>65</c:v>
                </c:pt>
                <c:pt idx="34">
                  <c:v>65</c:v>
                </c:pt>
                <c:pt idx="35">
                  <c:v>51</c:v>
                </c:pt>
                <c:pt idx="36">
                  <c:v>49</c:v>
                </c:pt>
                <c:pt idx="37">
                  <c:v>52</c:v>
                </c:pt>
                <c:pt idx="38">
                  <c:v>43</c:v>
                </c:pt>
                <c:pt idx="39">
                  <c:v>38</c:v>
                </c:pt>
                <c:pt idx="40">
                  <c:v>3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8.680659551220785</c:v>
                </c:pt>
                <c:pt idx="32">
                  <c:v>72.814832397800515</c:v>
                </c:pt>
                <c:pt idx="33">
                  <c:v>67.355661424867719</c:v>
                </c:pt>
                <c:pt idx="34">
                  <c:v>62.223514069825825</c:v>
                </c:pt>
                <c:pt idx="35">
                  <c:v>57.471637318501436</c:v>
                </c:pt>
                <c:pt idx="36">
                  <c:v>53.218493394140197</c:v>
                </c:pt>
                <c:pt idx="37">
                  <c:v>49.271715919957373</c:v>
                </c:pt>
                <c:pt idx="38">
                  <c:v>45.464868562704957</c:v>
                </c:pt>
                <c:pt idx="39">
                  <c:v>41.876028569267497</c:v>
                </c:pt>
                <c:pt idx="40">
                  <c:v>38.523070057088503</c:v>
                </c:pt>
                <c:pt idx="41">
                  <c:v>35.397736910071821</c:v>
                </c:pt>
                <c:pt idx="42">
                  <c:v>32.569487820892128</c:v>
                </c:pt>
                <c:pt idx="43">
                  <c:v>30.012632906029204</c:v>
                </c:pt>
                <c:pt idx="44">
                  <c:v>27.601674939891055</c:v>
                </c:pt>
                <c:pt idx="45">
                  <c:v>25.277598894577984</c:v>
                </c:pt>
                <c:pt idx="46">
                  <c:v>23.105997266796297</c:v>
                </c:pt>
                <c:pt idx="47">
                  <c:v>21.090485454060452</c:v>
                </c:pt>
                <c:pt idx="48">
                  <c:v>19.218629306550866</c:v>
                </c:pt>
                <c:pt idx="49">
                  <c:v>17.4793396743827</c:v>
                </c:pt>
                <c:pt idx="50">
                  <c:v>15.880788312503991</c:v>
                </c:pt>
                <c:pt idx="51">
                  <c:v>14.365998205861832</c:v>
                </c:pt>
                <c:pt idx="52">
                  <c:v>12.94255086496872</c:v>
                </c:pt>
                <c:pt idx="53">
                  <c:v>11.615809910548807</c:v>
                </c:pt>
                <c:pt idx="54">
                  <c:v>10.372688717208451</c:v>
                </c:pt>
                <c:pt idx="55">
                  <c:v>9.2053115685626459</c:v>
                </c:pt>
                <c:pt idx="56">
                  <c:v>8.1135803602356535</c:v>
                </c:pt>
                <c:pt idx="57">
                  <c:v>7.1020031352296531</c:v>
                </c:pt>
                <c:pt idx="58">
                  <c:v>6.137448372010148</c:v>
                </c:pt>
                <c:pt idx="59">
                  <c:v>5.2499342473714226</c:v>
                </c:pt>
                <c:pt idx="60">
                  <c:v>4.414816227197389</c:v>
                </c:pt>
                <c:pt idx="61">
                  <c:v>3.6239237084062723</c:v>
                </c:pt>
                <c:pt idx="62">
                  <c:v>2.8775447857402896</c:v>
                </c:pt>
                <c:pt idx="63">
                  <c:v>2.1917737819865701</c:v>
                </c:pt>
                <c:pt idx="64">
                  <c:v>1.5484593545844101</c:v>
                </c:pt>
                <c:pt idx="65">
                  <c:v>0.93766004170379524</c:v>
                </c:pt>
                <c:pt idx="66">
                  <c:v>0.368817433587887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B-4C26-B10F-458988463FD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AB-4C26-B10F-458988463FD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8.861912209667906</c:v>
                </c:pt>
                <c:pt idx="32">
                  <c:v>73.301712325151129</c:v>
                </c:pt>
                <c:pt idx="33">
                  <c:v>68.219916928359794</c:v>
                </c:pt>
                <c:pt idx="34">
                  <c:v>63.504737474319384</c:v>
                </c:pt>
                <c:pt idx="35">
                  <c:v>59.21964975515592</c:v>
                </c:pt>
                <c:pt idx="36">
                  <c:v>55.504591008979361</c:v>
                </c:pt>
                <c:pt idx="37">
                  <c:v>52.180596096249388</c:v>
                </c:pt>
                <c:pt idx="38">
                  <c:v>49.070124655003859</c:v>
                </c:pt>
                <c:pt idx="39">
                  <c:v>46.217582363125615</c:v>
                </c:pt>
                <c:pt idx="40">
                  <c:v>43.625207172688079</c:v>
                </c:pt>
                <c:pt idx="41">
                  <c:v>41.272244856411263</c:v>
                </c:pt>
                <c:pt idx="42">
                  <c:v>39.236753891208075</c:v>
                </c:pt>
                <c:pt idx="43">
                  <c:v>37.490431493523083</c:v>
                </c:pt>
                <c:pt idx="44">
                  <c:v>35.893675069910302</c:v>
                </c:pt>
                <c:pt idx="45">
                  <c:v>34.374766843576396</c:v>
                </c:pt>
                <c:pt idx="46">
                  <c:v>32.98149966067075</c:v>
                </c:pt>
                <c:pt idx="47">
                  <c:v>31.716920677347069</c:v>
                </c:pt>
                <c:pt idx="48">
                  <c:v>30.574085563416538</c:v>
                </c:pt>
                <c:pt idx="49">
                  <c:v>29.532804628992412</c:v>
                </c:pt>
                <c:pt idx="50">
                  <c:v>28.598625543285294</c:v>
                </c:pt>
                <c:pt idx="51">
                  <c:v>27.718234791114092</c:v>
                </c:pt>
                <c:pt idx="52">
                  <c:v>26.889053990858294</c:v>
                </c:pt>
                <c:pt idx="53">
                  <c:v>26.115020424835809</c:v>
                </c:pt>
                <c:pt idx="54">
                  <c:v>25.389933214021323</c:v>
                </c:pt>
                <c:pt idx="55">
                  <c:v>24.704088280086545</c:v>
                </c:pt>
                <c:pt idx="56">
                  <c:v>24.058710263579997</c:v>
                </c:pt>
                <c:pt idx="57">
                  <c:v>23.454813071559641</c:v>
                </c:pt>
                <c:pt idx="58">
                  <c:v>22.865060784992682</c:v>
                </c:pt>
                <c:pt idx="59">
                  <c:v>22.312268140450506</c:v>
                </c:pt>
                <c:pt idx="60">
                  <c:v>21.782644839119222</c:v>
                </c:pt>
                <c:pt idx="61">
                  <c:v>21.267090973458131</c:v>
                </c:pt>
                <c:pt idx="62">
                  <c:v>20.767426946287987</c:v>
                </c:pt>
                <c:pt idx="63">
                  <c:v>20.29655794012864</c:v>
                </c:pt>
                <c:pt idx="64">
                  <c:v>19.84256112637469</c:v>
                </c:pt>
                <c:pt idx="65">
                  <c:v>19.398376511629426</c:v>
                </c:pt>
                <c:pt idx="66">
                  <c:v>18.970477405372506</c:v>
                </c:pt>
                <c:pt idx="67">
                  <c:v>18.555314583775974</c:v>
                </c:pt>
                <c:pt idx="68">
                  <c:v>18.155087117689245</c:v>
                </c:pt>
                <c:pt idx="69">
                  <c:v>17.765106155382107</c:v>
                </c:pt>
                <c:pt idx="70">
                  <c:v>17.389563714124858</c:v>
                </c:pt>
                <c:pt idx="71">
                  <c:v>17.023319203900503</c:v>
                </c:pt>
                <c:pt idx="72">
                  <c:v>16.662118008074213</c:v>
                </c:pt>
                <c:pt idx="73">
                  <c:v>16.311356119339298</c:v>
                </c:pt>
                <c:pt idx="74">
                  <c:v>15.972976217059026</c:v>
                </c:pt>
                <c:pt idx="75">
                  <c:v>15.642461902851309</c:v>
                </c:pt>
                <c:pt idx="76">
                  <c:v>15.312977903633307</c:v>
                </c:pt>
                <c:pt idx="77">
                  <c:v>15.00167494681522</c:v>
                </c:pt>
                <c:pt idx="78">
                  <c:v>14.69304679476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3AB-4C26-B10F-458988463FD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9.043164868115028</c:v>
                </c:pt>
                <c:pt idx="32">
                  <c:v>73.793627048569732</c:v>
                </c:pt>
                <c:pt idx="33">
                  <c:v>69.090144680176294</c:v>
                </c:pt>
                <c:pt idx="34">
                  <c:v>64.787163914458574</c:v>
                </c:pt>
                <c:pt idx="35">
                  <c:v>60.988240169729096</c:v>
                </c:pt>
                <c:pt idx="36">
                  <c:v>57.860211761833419</c:v>
                </c:pt>
                <c:pt idx="37">
                  <c:v>55.243960604637216</c:v>
                </c:pt>
                <c:pt idx="38">
                  <c:v>52.962746276050012</c:v>
                </c:pt>
                <c:pt idx="39">
                  <c:v>51.009989165305456</c:v>
                </c:pt>
                <c:pt idx="40">
                  <c:v>49.369781472991647</c:v>
                </c:pt>
                <c:pt idx="41">
                  <c:v>48.034113518240829</c:v>
                </c:pt>
                <c:pt idx="42">
                  <c:v>47.09908779499284</c:v>
                </c:pt>
                <c:pt idx="43">
                  <c:v>46.539860062295013</c:v>
                </c:pt>
                <c:pt idx="44">
                  <c:v>46.193069921652878</c:v>
                </c:pt>
                <c:pt idx="45">
                  <c:v>45.976277048363769</c:v>
                </c:pt>
                <c:pt idx="46">
                  <c:v>45.918118889113643</c:v>
                </c:pt>
                <c:pt idx="47">
                  <c:v>46.034515473399594</c:v>
                </c:pt>
                <c:pt idx="48">
                  <c:v>46.319701418994356</c:v>
                </c:pt>
                <c:pt idx="49">
                  <c:v>46.751219317260031</c:v>
                </c:pt>
                <c:pt idx="50">
                  <c:v>47.330137987346603</c:v>
                </c:pt>
                <c:pt idx="51">
                  <c:v>47.983297926161299</c:v>
                </c:pt>
                <c:pt idx="52">
                  <c:v>48.705894997933783</c:v>
                </c:pt>
                <c:pt idx="53">
                  <c:v>49.513818119556845</c:v>
                </c:pt>
                <c:pt idx="54">
                  <c:v>50.402295118292173</c:v>
                </c:pt>
                <c:pt idx="55">
                  <c:v>51.355850549165169</c:v>
                </c:pt>
                <c:pt idx="56">
                  <c:v>52.367756029786612</c:v>
                </c:pt>
                <c:pt idx="57">
                  <c:v>53.445054467156709</c:v>
                </c:pt>
                <c:pt idx="58">
                  <c:v>54.554843629691419</c:v>
                </c:pt>
                <c:pt idx="59">
                  <c:v>55.718323599108032</c:v>
                </c:pt>
                <c:pt idx="60">
                  <c:v>56.930752143805265</c:v>
                </c:pt>
                <c:pt idx="61">
                  <c:v>58.173784624652775</c:v>
                </c:pt>
                <c:pt idx="62">
                  <c:v>59.456419222991329</c:v>
                </c:pt>
                <c:pt idx="63">
                  <c:v>60.78654852313116</c:v>
                </c:pt>
                <c:pt idx="64">
                  <c:v>62.155405053237885</c:v>
                </c:pt>
                <c:pt idx="65">
                  <c:v>63.550844421050314</c:v>
                </c:pt>
                <c:pt idx="66">
                  <c:v>64.988061538138922</c:v>
                </c:pt>
                <c:pt idx="67">
                  <c:v>66.459111383201488</c:v>
                </c:pt>
                <c:pt idx="68">
                  <c:v>67.964268096381446</c:v>
                </c:pt>
                <c:pt idx="69">
                  <c:v>69.497595672688391</c:v>
                </c:pt>
                <c:pt idx="70">
                  <c:v>71.06732200836322</c:v>
                </c:pt>
                <c:pt idx="71">
                  <c:v>72.67325574838685</c:v>
                </c:pt>
                <c:pt idx="72">
                  <c:v>74.301136759713017</c:v>
                </c:pt>
                <c:pt idx="73">
                  <c:v>75.968881194899581</c:v>
                </c:pt>
                <c:pt idx="74">
                  <c:v>77.674607257955415</c:v>
                </c:pt>
                <c:pt idx="75">
                  <c:v>79.407265605280259</c:v>
                </c:pt>
                <c:pt idx="76">
                  <c:v>81.168101751563185</c:v>
                </c:pt>
                <c:pt idx="77">
                  <c:v>82.969945155322705</c:v>
                </c:pt>
                <c:pt idx="78">
                  <c:v>84.8054880502052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3AB-4C26-B10F-458988463FD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AB-4C26-B10F-458988463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78</c:v>
                </c:pt>
                <c:pt idx="1">
                  <c:v>179</c:v>
                </c:pt>
                <c:pt idx="2">
                  <c:v>192</c:v>
                </c:pt>
                <c:pt idx="3">
                  <c:v>181</c:v>
                </c:pt>
                <c:pt idx="4">
                  <c:v>171</c:v>
                </c:pt>
                <c:pt idx="5">
                  <c:v>163</c:v>
                </c:pt>
                <c:pt idx="6">
                  <c:v>153</c:v>
                </c:pt>
                <c:pt idx="7">
                  <c:v>141</c:v>
                </c:pt>
                <c:pt idx="8">
                  <c:v>141</c:v>
                </c:pt>
                <c:pt idx="9">
                  <c:v>136</c:v>
                </c:pt>
                <c:pt idx="10">
                  <c:v>137</c:v>
                </c:pt>
                <c:pt idx="11">
                  <c:v>128</c:v>
                </c:pt>
                <c:pt idx="12">
                  <c:v>116</c:v>
                </c:pt>
                <c:pt idx="13">
                  <c:v>110</c:v>
                </c:pt>
                <c:pt idx="14">
                  <c:v>96</c:v>
                </c:pt>
                <c:pt idx="15">
                  <c:v>91</c:v>
                </c:pt>
                <c:pt idx="16">
                  <c:v>92</c:v>
                </c:pt>
                <c:pt idx="17">
                  <c:v>91</c:v>
                </c:pt>
                <c:pt idx="18">
                  <c:v>80</c:v>
                </c:pt>
                <c:pt idx="19">
                  <c:v>75</c:v>
                </c:pt>
                <c:pt idx="20">
                  <c:v>62</c:v>
                </c:pt>
                <c:pt idx="21">
                  <c:v>53</c:v>
                </c:pt>
                <c:pt idx="22">
                  <c:v>51</c:v>
                </c:pt>
                <c:pt idx="23">
                  <c:v>51</c:v>
                </c:pt>
                <c:pt idx="24">
                  <c:v>51</c:v>
                </c:pt>
                <c:pt idx="25">
                  <c:v>50</c:v>
                </c:pt>
                <c:pt idx="26">
                  <c:v>42</c:v>
                </c:pt>
                <c:pt idx="27">
                  <c:v>41</c:v>
                </c:pt>
                <c:pt idx="28">
                  <c:v>36</c:v>
                </c:pt>
                <c:pt idx="29">
                  <c:v>35</c:v>
                </c:pt>
                <c:pt idx="30">
                  <c:v>37</c:v>
                </c:pt>
                <c:pt idx="31">
                  <c:v>34</c:v>
                </c:pt>
                <c:pt idx="32">
                  <c:v>28</c:v>
                </c:pt>
                <c:pt idx="33">
                  <c:v>27</c:v>
                </c:pt>
                <c:pt idx="34">
                  <c:v>27</c:v>
                </c:pt>
                <c:pt idx="35">
                  <c:v>24</c:v>
                </c:pt>
                <c:pt idx="36">
                  <c:v>25</c:v>
                </c:pt>
                <c:pt idx="37">
                  <c:v>25</c:v>
                </c:pt>
                <c:pt idx="38">
                  <c:v>14</c:v>
                </c:pt>
                <c:pt idx="39">
                  <c:v>14</c:v>
                </c:pt>
                <c:pt idx="40">
                  <c:v>13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7.9056396358258</c:v>
                </c:pt>
                <c:pt idx="32">
                  <c:v>25.801751789877859</c:v>
                </c:pt>
                <c:pt idx="33">
                  <c:v>23.848123304031141</c:v>
                </c:pt>
                <c:pt idx="34">
                  <c:v>22.008332407128325</c:v>
                </c:pt>
                <c:pt idx="35">
                  <c:v>20.301959208468681</c:v>
                </c:pt>
                <c:pt idx="36">
                  <c:v>18.774223360888421</c:v>
                </c:pt>
                <c:pt idx="37">
                  <c:v>17.353581219859088</c:v>
                </c:pt>
                <c:pt idx="38">
                  <c:v>15.979300282553567</c:v>
                </c:pt>
                <c:pt idx="39">
                  <c:v>14.686367733706465</c:v>
                </c:pt>
                <c:pt idx="40">
                  <c:v>13.480779753028436</c:v>
                </c:pt>
                <c:pt idx="41">
                  <c:v>12.35357259520638</c:v>
                </c:pt>
                <c:pt idx="42">
                  <c:v>11.331561294460883</c:v>
                </c:pt>
                <c:pt idx="43">
                  <c:v>10.406639688869916</c:v>
                </c:pt>
                <c:pt idx="44">
                  <c:v>9.5297495259433056</c:v>
                </c:pt>
                <c:pt idx="45">
                  <c:v>8.6829669310613813</c:v>
                </c:pt>
                <c:pt idx="46">
                  <c:v>7.8917276980212758</c:v>
                </c:pt>
                <c:pt idx="47">
                  <c:v>7.1575812486999455</c:v>
                </c:pt>
                <c:pt idx="48">
                  <c:v>6.4733132903035724</c:v>
                </c:pt>
                <c:pt idx="49">
                  <c:v>5.836122595202248</c:v>
                </c:pt>
                <c:pt idx="50">
                  <c:v>5.2505066304387515</c:v>
                </c:pt>
                <c:pt idx="51">
                  <c:v>4.6933386216130772</c:v>
                </c:pt>
                <c:pt idx="52">
                  <c:v>4.1685038671450805</c:v>
                </c:pt>
                <c:pt idx="53">
                  <c:v>3.6795905312244344</c:v>
                </c:pt>
                <c:pt idx="54">
                  <c:v>3.2213104709558134</c:v>
                </c:pt>
                <c:pt idx="55">
                  <c:v>2.7900751253493854</c:v>
                </c:pt>
                <c:pt idx="56">
                  <c:v>2.386873230616307</c:v>
                </c:pt>
                <c:pt idx="57">
                  <c:v>2.0133680811054369</c:v>
                </c:pt>
                <c:pt idx="58">
                  <c:v>1.6556083684479863</c:v>
                </c:pt>
                <c:pt idx="59">
                  <c:v>1.326383241264899</c:v>
                </c:pt>
                <c:pt idx="60">
                  <c:v>1.0167563132363919</c:v>
                </c:pt>
                <c:pt idx="61">
                  <c:v>0.72394195111464255</c:v>
                </c:pt>
                <c:pt idx="62">
                  <c:v>0.44672637994759357</c:v>
                </c:pt>
                <c:pt idx="63">
                  <c:v>0.19215926966750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A3-47BC-8661-860DC2D1DD23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A3-47BC-8661-860DC2D1DD23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7.971392691427859</c:v>
                </c:pt>
                <c:pt idx="32">
                  <c:v>25.978450231569632</c:v>
                </c:pt>
                <c:pt idx="33">
                  <c:v>24.162147636997581</c:v>
                </c:pt>
                <c:pt idx="34">
                  <c:v>22.474527308414743</c:v>
                </c:pt>
                <c:pt idx="35">
                  <c:v>20.939035830761657</c:v>
                </c:pt>
                <c:pt idx="36">
                  <c:v>19.608844944900408</c:v>
                </c:pt>
                <c:pt idx="37">
                  <c:v>18.417328729159689</c:v>
                </c:pt>
                <c:pt idx="38">
                  <c:v>17.299773876763936</c:v>
                </c:pt>
                <c:pt idx="39">
                  <c:v>16.278850771458281</c:v>
                </c:pt>
                <c:pt idx="40">
                  <c:v>15.354761032336043</c:v>
                </c:pt>
                <c:pt idx="41">
                  <c:v>14.513815060486833</c:v>
                </c:pt>
                <c:pt idx="42">
                  <c:v>13.785810138353851</c:v>
                </c:pt>
                <c:pt idx="43">
                  <c:v>13.161564114449373</c:v>
                </c:pt>
                <c:pt idx="44">
                  <c:v>12.586813686399445</c:v>
                </c:pt>
                <c:pt idx="45">
                  <c:v>12.038953291313547</c:v>
                </c:pt>
                <c:pt idx="46">
                  <c:v>11.536880450012376</c:v>
                </c:pt>
                <c:pt idx="47">
                  <c:v>11.081858351206462</c:v>
                </c:pt>
                <c:pt idx="48">
                  <c:v>10.668583096776924</c:v>
                </c:pt>
                <c:pt idx="49">
                  <c:v>10.290897670253834</c:v>
                </c:pt>
                <c:pt idx="50">
                  <c:v>9.9523041509513543</c:v>
                </c:pt>
                <c:pt idx="51">
                  <c:v>9.6309973133302496</c:v>
                </c:pt>
                <c:pt idx="52">
                  <c:v>9.327157642018463</c:v>
                </c:pt>
                <c:pt idx="53">
                  <c:v>9.0438612593418277</c:v>
                </c:pt>
                <c:pt idx="54">
                  <c:v>8.7782966528012114</c:v>
                </c:pt>
                <c:pt idx="55">
                  <c:v>8.526206292052894</c:v>
                </c:pt>
                <c:pt idx="56">
                  <c:v>8.2890666879914647</c:v>
                </c:pt>
                <c:pt idx="57">
                  <c:v>8.0672875722799695</c:v>
                </c:pt>
                <c:pt idx="58">
                  <c:v>7.8490274067078074</c:v>
                </c:pt>
                <c:pt idx="59">
                  <c:v>7.6444706221418972</c:v>
                </c:pt>
                <c:pt idx="60">
                  <c:v>7.4486275127338351</c:v>
                </c:pt>
                <c:pt idx="61">
                  <c:v>7.2583778522296694</c:v>
                </c:pt>
                <c:pt idx="62">
                  <c:v>7.0730854501954425</c:v>
                </c:pt>
                <c:pt idx="63">
                  <c:v>6.8986545857421122</c:v>
                </c:pt>
                <c:pt idx="64">
                  <c:v>6.7308906863702127</c:v>
                </c:pt>
                <c:pt idx="65">
                  <c:v>6.565866352297995</c:v>
                </c:pt>
                <c:pt idx="66">
                  <c:v>6.4067284816517782</c:v>
                </c:pt>
                <c:pt idx="67">
                  <c:v>6.2523133400703088</c:v>
                </c:pt>
                <c:pt idx="68">
                  <c:v>6.1035859362065619</c:v>
                </c:pt>
                <c:pt idx="69">
                  <c:v>5.958595310799776</c:v>
                </c:pt>
                <c:pt idx="70">
                  <c:v>5.8191958575985367</c:v>
                </c:pt>
                <c:pt idx="71">
                  <c:v>5.6834288738733107</c:v>
                </c:pt>
                <c:pt idx="72">
                  <c:v>5.5490618788118944</c:v>
                </c:pt>
                <c:pt idx="73">
                  <c:v>5.41864235430109</c:v>
                </c:pt>
                <c:pt idx="74">
                  <c:v>5.2929923464167077</c:v>
                </c:pt>
                <c:pt idx="75">
                  <c:v>5.1702521359046916</c:v>
                </c:pt>
                <c:pt idx="76">
                  <c:v>5.047704801380501</c:v>
                </c:pt>
                <c:pt idx="77">
                  <c:v>4.9323176900023817</c:v>
                </c:pt>
                <c:pt idx="78">
                  <c:v>4.8178463720397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A3-47BC-8661-860DC2D1DD2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8.037145747029925</c:v>
                </c:pt>
                <c:pt idx="32">
                  <c:v>26.156975147028135</c:v>
                </c:pt>
                <c:pt idx="33">
                  <c:v>24.478340549360926</c:v>
                </c:pt>
                <c:pt idx="34">
                  <c:v>22.941169435885264</c:v>
                </c:pt>
                <c:pt idx="35">
                  <c:v>21.583594792601446</c:v>
                </c:pt>
                <c:pt idx="36">
                  <c:v>20.4687150870528</c:v>
                </c:pt>
                <c:pt idx="37">
                  <c:v>19.537204210486351</c:v>
                </c:pt>
                <c:pt idx="38">
                  <c:v>18.724724181409989</c:v>
                </c:pt>
                <c:pt idx="39">
                  <c:v>18.035414434083712</c:v>
                </c:pt>
                <c:pt idx="40">
                  <c:v>17.462853331040382</c:v>
                </c:pt>
                <c:pt idx="41">
                  <c:v>16.997834279966892</c:v>
                </c:pt>
                <c:pt idx="42">
                  <c:v>16.67662849784287</c:v>
                </c:pt>
                <c:pt idx="43">
                  <c:v>16.491248462070793</c:v>
                </c:pt>
                <c:pt idx="44">
                  <c:v>16.378766442748503</c:v>
                </c:pt>
                <c:pt idx="45">
                  <c:v>16.312646603456095</c:v>
                </c:pt>
                <c:pt idx="46">
                  <c:v>16.304770861752665</c:v>
                </c:pt>
                <c:pt idx="47">
                  <c:v>16.361010485474484</c:v>
                </c:pt>
                <c:pt idx="48">
                  <c:v>16.476424308411506</c:v>
                </c:pt>
                <c:pt idx="49">
                  <c:v>16.643999228486749</c:v>
                </c:pt>
                <c:pt idx="50">
                  <c:v>16.86557702219973</c:v>
                </c:pt>
                <c:pt idx="51">
                  <c:v>17.1121508245812</c:v>
                </c:pt>
                <c:pt idx="52">
                  <c:v>17.383072106915726</c:v>
                </c:pt>
                <c:pt idx="53">
                  <c:v>17.685717413565531</c:v>
                </c:pt>
                <c:pt idx="54">
                  <c:v>18.017764759660217</c:v>
                </c:pt>
                <c:pt idx="55">
                  <c:v>18.372846308775998</c:v>
                </c:pt>
                <c:pt idx="56">
                  <c:v>18.749538345350693</c:v>
                </c:pt>
                <c:pt idx="57">
                  <c:v>19.15043698410441</c:v>
                </c:pt>
                <c:pt idx="58">
                  <c:v>19.561670181412385</c:v>
                </c:pt>
                <c:pt idx="59">
                  <c:v>19.992838495367725</c:v>
                </c:pt>
                <c:pt idx="60">
                  <c:v>20.442224010782247</c:v>
                </c:pt>
                <c:pt idx="61">
                  <c:v>20.903352000464423</c:v>
                </c:pt>
                <c:pt idx="62">
                  <c:v>21.378200504122184</c:v>
                </c:pt>
                <c:pt idx="63">
                  <c:v>21.870846942042121</c:v>
                </c:pt>
                <c:pt idx="64">
                  <c:v>22.378241083827657</c:v>
                </c:pt>
                <c:pt idx="65">
                  <c:v>22.894608500629552</c:v>
                </c:pt>
                <c:pt idx="66">
                  <c:v>23.42626628219034</c:v>
                </c:pt>
                <c:pt idx="67">
                  <c:v>23.970463182006952</c:v>
                </c:pt>
                <c:pt idx="68">
                  <c:v>24.527478006146701</c:v>
                </c:pt>
                <c:pt idx="69">
                  <c:v>25.094907838335146</c:v>
                </c:pt>
                <c:pt idx="70">
                  <c:v>25.676058294149282</c:v>
                </c:pt>
                <c:pt idx="71">
                  <c:v>26.270768971314276</c:v>
                </c:pt>
                <c:pt idx="72">
                  <c:v>26.873185323865805</c:v>
                </c:pt>
                <c:pt idx="73">
                  <c:v>27.490403634061686</c:v>
                </c:pt>
                <c:pt idx="74">
                  <c:v>28.121845412933304</c:v>
                </c:pt>
                <c:pt idx="75">
                  <c:v>28.763301705586105</c:v>
                </c:pt>
                <c:pt idx="76">
                  <c:v>29.414990086320053</c:v>
                </c:pt>
                <c:pt idx="77">
                  <c:v>30.08231251273369</c:v>
                </c:pt>
                <c:pt idx="78">
                  <c:v>30.7620129941812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EA3-47BC-8661-860DC2D1DD2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EA3-47BC-8661-860DC2D1DD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73</c:v>
                </c:pt>
                <c:pt idx="1">
                  <c:v>271</c:v>
                </c:pt>
                <c:pt idx="2">
                  <c:v>288</c:v>
                </c:pt>
                <c:pt idx="3">
                  <c:v>280</c:v>
                </c:pt>
                <c:pt idx="4">
                  <c:v>248</c:v>
                </c:pt>
                <c:pt idx="5">
                  <c:v>245</c:v>
                </c:pt>
                <c:pt idx="6">
                  <c:v>230</c:v>
                </c:pt>
                <c:pt idx="7">
                  <c:v>212</c:v>
                </c:pt>
                <c:pt idx="8">
                  <c:v>217</c:v>
                </c:pt>
                <c:pt idx="9">
                  <c:v>237</c:v>
                </c:pt>
                <c:pt idx="10">
                  <c:v>212</c:v>
                </c:pt>
                <c:pt idx="11">
                  <c:v>206</c:v>
                </c:pt>
                <c:pt idx="12">
                  <c:v>199</c:v>
                </c:pt>
                <c:pt idx="13">
                  <c:v>184</c:v>
                </c:pt>
                <c:pt idx="14">
                  <c:v>172</c:v>
                </c:pt>
                <c:pt idx="15">
                  <c:v>169</c:v>
                </c:pt>
                <c:pt idx="16">
                  <c:v>174</c:v>
                </c:pt>
                <c:pt idx="17">
                  <c:v>159</c:v>
                </c:pt>
                <c:pt idx="18">
                  <c:v>154</c:v>
                </c:pt>
                <c:pt idx="19">
                  <c:v>143</c:v>
                </c:pt>
                <c:pt idx="20">
                  <c:v>148</c:v>
                </c:pt>
                <c:pt idx="21">
                  <c:v>141</c:v>
                </c:pt>
                <c:pt idx="22">
                  <c:v>135</c:v>
                </c:pt>
                <c:pt idx="23">
                  <c:v>138</c:v>
                </c:pt>
                <c:pt idx="24">
                  <c:v>127</c:v>
                </c:pt>
                <c:pt idx="25">
                  <c:v>121</c:v>
                </c:pt>
                <c:pt idx="26">
                  <c:v>113</c:v>
                </c:pt>
                <c:pt idx="27">
                  <c:v>109</c:v>
                </c:pt>
                <c:pt idx="28">
                  <c:v>88</c:v>
                </c:pt>
                <c:pt idx="29">
                  <c:v>86</c:v>
                </c:pt>
                <c:pt idx="30">
                  <c:v>87</c:v>
                </c:pt>
                <c:pt idx="31">
                  <c:v>77</c:v>
                </c:pt>
                <c:pt idx="32">
                  <c:v>77</c:v>
                </c:pt>
                <c:pt idx="33">
                  <c:v>70</c:v>
                </c:pt>
                <c:pt idx="34">
                  <c:v>63</c:v>
                </c:pt>
                <c:pt idx="35">
                  <c:v>50</c:v>
                </c:pt>
                <c:pt idx="36">
                  <c:v>50</c:v>
                </c:pt>
                <c:pt idx="37">
                  <c:v>48</c:v>
                </c:pt>
                <c:pt idx="38">
                  <c:v>44</c:v>
                </c:pt>
                <c:pt idx="39">
                  <c:v>41</c:v>
                </c:pt>
                <c:pt idx="40">
                  <c:v>38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81.757616701576268</c:v>
                </c:pt>
                <c:pt idx="32">
                  <c:v>75.686834698056927</c:v>
                </c:pt>
                <c:pt idx="33">
                  <c:v>70.032328615474114</c:v>
                </c:pt>
                <c:pt idx="34">
                  <c:v>64.719872730018167</c:v>
                </c:pt>
                <c:pt idx="35">
                  <c:v>59.80407222510636</c:v>
                </c:pt>
                <c:pt idx="36">
                  <c:v>55.404683106860688</c:v>
                </c:pt>
                <c:pt idx="37">
                  <c:v>51.325272194985246</c:v>
                </c:pt>
                <c:pt idx="38">
                  <c:v>47.394668239373132</c:v>
                </c:pt>
                <c:pt idx="39">
                  <c:v>43.68640076461157</c:v>
                </c:pt>
                <c:pt idx="40">
                  <c:v>40.219400490015097</c:v>
                </c:pt>
                <c:pt idx="41">
                  <c:v>36.991376737963556</c:v>
                </c:pt>
                <c:pt idx="42">
                  <c:v>34.072233069083602</c:v>
                </c:pt>
                <c:pt idx="43">
                  <c:v>31.434227590266776</c:v>
                </c:pt>
                <c:pt idx="44">
                  <c:v>28.951693937156872</c:v>
                </c:pt>
                <c:pt idx="45">
                  <c:v>26.560176297690571</c:v>
                </c:pt>
                <c:pt idx="46">
                  <c:v>24.325569195518305</c:v>
                </c:pt>
                <c:pt idx="47">
                  <c:v>22.251351077188385</c:v>
                </c:pt>
                <c:pt idx="48">
                  <c:v>20.327523247375922</c:v>
                </c:pt>
                <c:pt idx="49">
                  <c:v>18.541383740994611</c:v>
                </c:pt>
                <c:pt idx="50">
                  <c:v>16.899757719910173</c:v>
                </c:pt>
                <c:pt idx="51">
                  <c:v>15.346480964672969</c:v>
                </c:pt>
                <c:pt idx="52">
                  <c:v>13.888185006585241</c:v>
                </c:pt>
                <c:pt idx="53">
                  <c:v>12.528686769763851</c:v>
                </c:pt>
                <c:pt idx="54">
                  <c:v>11.255061649043984</c:v>
                </c:pt>
                <c:pt idx="55">
                  <c:v>10.059954521818137</c:v>
                </c:pt>
                <c:pt idx="56">
                  <c:v>8.9421970526974466</c:v>
                </c:pt>
                <c:pt idx="57">
                  <c:v>7.9064064537022221</c:v>
                </c:pt>
                <c:pt idx="58">
                  <c:v>6.9204482518216581</c:v>
                </c:pt>
                <c:pt idx="59">
                  <c:v>6.0132821998779136</c:v>
                </c:pt>
                <c:pt idx="60">
                  <c:v>5.1595039073883537</c:v>
                </c:pt>
                <c:pt idx="61">
                  <c:v>4.3505063127739092</c:v>
                </c:pt>
                <c:pt idx="62">
                  <c:v>3.5879598403994248</c:v>
                </c:pt>
                <c:pt idx="63">
                  <c:v>2.8871905299594776</c:v>
                </c:pt>
                <c:pt idx="64">
                  <c:v>2.2293540490838213</c:v>
                </c:pt>
                <c:pt idx="65">
                  <c:v>1.6056447030408583</c:v>
                </c:pt>
                <c:pt idx="66">
                  <c:v>1.0249802814180837</c:v>
                </c:pt>
                <c:pt idx="67">
                  <c:v>0.487568507139355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C6-404F-9249-53B89BEE35F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C6-404F-9249-53B89BEE35F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81.944427859224746</c:v>
                </c:pt>
                <c:pt idx="32">
                  <c:v>76.188569848729813</c:v>
                </c:pt>
                <c:pt idx="33">
                  <c:v>70.922569264599431</c:v>
                </c:pt>
                <c:pt idx="34">
                  <c:v>66.038923447063468</c:v>
                </c:pt>
                <c:pt idx="35">
                  <c:v>61.602617780669746</c:v>
                </c:pt>
                <c:pt idx="36">
                  <c:v>57.755373502796779</c:v>
                </c:pt>
                <c:pt idx="37">
                  <c:v>54.314511142381633</c:v>
                </c:pt>
                <c:pt idx="38">
                  <c:v>51.097365500293265</c:v>
                </c:pt>
                <c:pt idx="39">
                  <c:v>48.142867943784502</c:v>
                </c:pt>
                <c:pt idx="40">
                  <c:v>45.453960855502388</c:v>
                </c:pt>
                <c:pt idx="41">
                  <c:v>43.015672114158392</c:v>
                </c:pt>
                <c:pt idx="42">
                  <c:v>40.906912050320372</c:v>
                </c:pt>
                <c:pt idx="43">
                  <c:v>39.097379213004686</c:v>
                </c:pt>
                <c:pt idx="44">
                  <c:v>37.446961029272188</c:v>
                </c:pt>
                <c:pt idx="45">
                  <c:v>35.878185969798707</c:v>
                </c:pt>
                <c:pt idx="46">
                  <c:v>34.438687530310126</c:v>
                </c:pt>
                <c:pt idx="47">
                  <c:v>33.131441935932415</c:v>
                </c:pt>
                <c:pt idx="48">
                  <c:v>31.952193214388966</c:v>
                </c:pt>
                <c:pt idx="49">
                  <c:v>30.87891643515632</c:v>
                </c:pt>
                <c:pt idx="50">
                  <c:v>29.915777468420838</c:v>
                </c:pt>
                <c:pt idx="51">
                  <c:v>29.010395715599628</c:v>
                </c:pt>
                <c:pt idx="52">
                  <c:v>28.158951149435978</c:v>
                </c:pt>
                <c:pt idx="53">
                  <c:v>27.363784997015369</c:v>
                </c:pt>
                <c:pt idx="54">
                  <c:v>26.6190917710836</c:v>
                </c:pt>
                <c:pt idx="55">
                  <c:v>25.91563784913787</c:v>
                </c:pt>
                <c:pt idx="56">
                  <c:v>25.253609951437575</c:v>
                </c:pt>
                <c:pt idx="57">
                  <c:v>24.634009406839276</c:v>
                </c:pt>
                <c:pt idx="58">
                  <c:v>24.030667475171029</c:v>
                </c:pt>
                <c:pt idx="59">
                  <c:v>23.465110729849705</c:v>
                </c:pt>
                <c:pt idx="60">
                  <c:v>22.923112415568347</c:v>
                </c:pt>
                <c:pt idx="61">
                  <c:v>22.395105030276611</c:v>
                </c:pt>
                <c:pt idx="62">
                  <c:v>21.884315679910166</c:v>
                </c:pt>
                <c:pt idx="63">
                  <c:v>21.402771444985426</c:v>
                </c:pt>
                <c:pt idx="64">
                  <c:v>20.938047711631931</c:v>
                </c:pt>
                <c:pt idx="65">
                  <c:v>20.48429143740103</c:v>
                </c:pt>
                <c:pt idx="66">
                  <c:v>20.047342432141335</c:v>
                </c:pt>
                <c:pt idx="67">
                  <c:v>19.623413624103563</c:v>
                </c:pt>
                <c:pt idx="68">
                  <c:v>19.214597267778522</c:v>
                </c:pt>
                <c:pt idx="69">
                  <c:v>18.816321170441018</c:v>
                </c:pt>
                <c:pt idx="70">
                  <c:v>18.432558278667759</c:v>
                </c:pt>
                <c:pt idx="71">
                  <c:v>18.058108135633976</c:v>
                </c:pt>
                <c:pt idx="72">
                  <c:v>17.689303536113975</c:v>
                </c:pt>
                <c:pt idx="73">
                  <c:v>17.331091268509425</c:v>
                </c:pt>
                <c:pt idx="74">
                  <c:v>16.985351376303811</c:v>
                </c:pt>
                <c:pt idx="75">
                  <c:v>16.647659528663961</c:v>
                </c:pt>
                <c:pt idx="76">
                  <c:v>16.31121805977104</c:v>
                </c:pt>
                <c:pt idx="77">
                  <c:v>15.992926862275302</c:v>
                </c:pt>
                <c:pt idx="78">
                  <c:v>15.677449328362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C6-404F-9249-53B89BEE35F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82.131239016873252</c:v>
                </c:pt>
                <c:pt idx="32">
                  <c:v>76.695494198226285</c:v>
                </c:pt>
                <c:pt idx="33">
                  <c:v>71.818963203008082</c:v>
                </c:pt>
                <c:pt idx="34">
                  <c:v>67.359202840339094</c:v>
                </c:pt>
                <c:pt idx="35">
                  <c:v>63.422354395524764</c:v>
                </c:pt>
                <c:pt idx="36">
                  <c:v>60.177690316198927</c:v>
                </c:pt>
                <c:pt idx="37">
                  <c:v>57.462882759312201</c:v>
                </c:pt>
                <c:pt idx="38">
                  <c:v>55.096002301367918</c:v>
                </c:pt>
                <c:pt idx="39">
                  <c:v>53.063467922723774</c:v>
                </c:pt>
                <c:pt idx="40">
                  <c:v>51.349561992686006</c:v>
                </c:pt>
                <c:pt idx="41">
                  <c:v>49.95259398654126</c:v>
                </c:pt>
                <c:pt idx="42">
                  <c:v>48.970146517402362</c:v>
                </c:pt>
                <c:pt idx="43">
                  <c:v>48.37554528145602</c:v>
                </c:pt>
                <c:pt idx="44">
                  <c:v>48.004239040023073</c:v>
                </c:pt>
                <c:pt idx="45">
                  <c:v>47.767747033307536</c:v>
                </c:pt>
                <c:pt idx="46">
                  <c:v>47.694029301290882</c:v>
                </c:pt>
                <c:pt idx="47">
                  <c:v>47.799394120430208</c:v>
                </c:pt>
                <c:pt idx="48">
                  <c:v>48.080868296799352</c:v>
                </c:pt>
                <c:pt idx="49">
                  <c:v>48.51412446138454</c:v>
                </c:pt>
                <c:pt idx="50">
                  <c:v>49.098749277574569</c:v>
                </c:pt>
                <c:pt idx="51">
                  <c:v>49.761909734845027</c:v>
                </c:pt>
                <c:pt idx="52">
                  <c:v>50.497514274021185</c:v>
                </c:pt>
                <c:pt idx="53">
                  <c:v>51.320259030673597</c:v>
                </c:pt>
                <c:pt idx="54">
                  <c:v>52.22584100713614</c:v>
                </c:pt>
                <c:pt idx="55">
                  <c:v>53.199095545771883</c:v>
                </c:pt>
                <c:pt idx="56">
                  <c:v>54.232028187221097</c:v>
                </c:pt>
                <c:pt idx="57">
                  <c:v>55.33185494237847</c:v>
                </c:pt>
                <c:pt idx="58">
                  <c:v>56.466681738601409</c:v>
                </c:pt>
                <c:pt idx="59">
                  <c:v>57.656369023239876</c:v>
                </c:pt>
                <c:pt idx="60">
                  <c:v>58.896026607578207</c:v>
                </c:pt>
                <c:pt idx="61">
                  <c:v>60.166559569775742</c:v>
                </c:pt>
                <c:pt idx="62">
                  <c:v>61.478582136594</c:v>
                </c:pt>
                <c:pt idx="63">
                  <c:v>62.83896385946575</c:v>
                </c:pt>
                <c:pt idx="64">
                  <c:v>64.238532587908054</c:v>
                </c:pt>
                <c:pt idx="65">
                  <c:v>65.666197624808376</c:v>
                </c:pt>
                <c:pt idx="66">
                  <c:v>67.136781332050688</c:v>
                </c:pt>
                <c:pt idx="67">
                  <c:v>68.641958582393343</c:v>
                </c:pt>
                <c:pt idx="68">
                  <c:v>70.181825055757571</c:v>
                </c:pt>
                <c:pt idx="69">
                  <c:v>71.750522666765193</c:v>
                </c:pt>
                <c:pt idx="70">
                  <c:v>73.356197423587076</c:v>
                </c:pt>
                <c:pt idx="71">
                  <c:v>74.998746897538567</c:v>
                </c:pt>
                <c:pt idx="72">
                  <c:v>76.664183569019826</c:v>
                </c:pt>
                <c:pt idx="73">
                  <c:v>78.37035119641358</c:v>
                </c:pt>
                <c:pt idx="74">
                  <c:v>80.115201741513033</c:v>
                </c:pt>
                <c:pt idx="75">
                  <c:v>81.887555991846313</c:v>
                </c:pt>
                <c:pt idx="76">
                  <c:v>83.68894173016038</c:v>
                </c:pt>
                <c:pt idx="77">
                  <c:v>85.531802727733321</c:v>
                </c:pt>
                <c:pt idx="78">
                  <c:v>87.4092373953109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2C6-404F-9249-53B89BEE35FD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2C6-404F-9249-53B89BEE3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368</c:v>
                </c:pt>
                <c:pt idx="1">
                  <c:v>367</c:v>
                </c:pt>
                <c:pt idx="2">
                  <c:v>415</c:v>
                </c:pt>
                <c:pt idx="3">
                  <c:v>400</c:v>
                </c:pt>
                <c:pt idx="4">
                  <c:v>379</c:v>
                </c:pt>
                <c:pt idx="5">
                  <c:v>363</c:v>
                </c:pt>
                <c:pt idx="6">
                  <c:v>343</c:v>
                </c:pt>
                <c:pt idx="7">
                  <c:v>313</c:v>
                </c:pt>
                <c:pt idx="8">
                  <c:v>306</c:v>
                </c:pt>
                <c:pt idx="9">
                  <c:v>322</c:v>
                </c:pt>
                <c:pt idx="10">
                  <c:v>292</c:v>
                </c:pt>
                <c:pt idx="11">
                  <c:v>267</c:v>
                </c:pt>
                <c:pt idx="12">
                  <c:v>255</c:v>
                </c:pt>
                <c:pt idx="13">
                  <c:v>244</c:v>
                </c:pt>
                <c:pt idx="14">
                  <c:v>192</c:v>
                </c:pt>
                <c:pt idx="15">
                  <c:v>190</c:v>
                </c:pt>
                <c:pt idx="16">
                  <c:v>208</c:v>
                </c:pt>
                <c:pt idx="17">
                  <c:v>215</c:v>
                </c:pt>
                <c:pt idx="18">
                  <c:v>189</c:v>
                </c:pt>
                <c:pt idx="19">
                  <c:v>180</c:v>
                </c:pt>
                <c:pt idx="20">
                  <c:v>166</c:v>
                </c:pt>
                <c:pt idx="21">
                  <c:v>126</c:v>
                </c:pt>
                <c:pt idx="22">
                  <c:v>121</c:v>
                </c:pt>
                <c:pt idx="23">
                  <c:v>123</c:v>
                </c:pt>
                <c:pt idx="24">
                  <c:v>115</c:v>
                </c:pt>
                <c:pt idx="25">
                  <c:v>123</c:v>
                </c:pt>
                <c:pt idx="26">
                  <c:v>114</c:v>
                </c:pt>
                <c:pt idx="27">
                  <c:v>103</c:v>
                </c:pt>
                <c:pt idx="28">
                  <c:v>91</c:v>
                </c:pt>
                <c:pt idx="29">
                  <c:v>86</c:v>
                </c:pt>
                <c:pt idx="30">
                  <c:v>90</c:v>
                </c:pt>
                <c:pt idx="31">
                  <c:v>75</c:v>
                </c:pt>
                <c:pt idx="32">
                  <c:v>70</c:v>
                </c:pt>
                <c:pt idx="33">
                  <c:v>62</c:v>
                </c:pt>
                <c:pt idx="34">
                  <c:v>62</c:v>
                </c:pt>
                <c:pt idx="35">
                  <c:v>45</c:v>
                </c:pt>
                <c:pt idx="36">
                  <c:v>44</c:v>
                </c:pt>
                <c:pt idx="37">
                  <c:v>42</c:v>
                </c:pt>
                <c:pt idx="38">
                  <c:v>42</c:v>
                </c:pt>
                <c:pt idx="39">
                  <c:v>40</c:v>
                </c:pt>
                <c:pt idx="40">
                  <c:v>38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84.229216708642497</c:v>
                </c:pt>
                <c:pt idx="32">
                  <c:v>77.959168089982256</c:v>
                </c:pt>
                <c:pt idx="33">
                  <c:v>72.122026947710239</c:v>
                </c:pt>
                <c:pt idx="34">
                  <c:v>66.635835123976918</c:v>
                </c:pt>
                <c:pt idx="35">
                  <c:v>61.557314984013715</c:v>
                </c:pt>
                <c:pt idx="36">
                  <c:v>57.011993501772082</c:v>
                </c:pt>
                <c:pt idx="37">
                  <c:v>52.795273061908517</c:v>
                </c:pt>
                <c:pt idx="38">
                  <c:v>48.729665173066579</c:v>
                </c:pt>
                <c:pt idx="39">
                  <c:v>44.895818198775103</c:v>
                </c:pt>
                <c:pt idx="40">
                  <c:v>41.313004813282483</c:v>
                </c:pt>
                <c:pt idx="41">
                  <c:v>37.97481468699015</c:v>
                </c:pt>
                <c:pt idx="42">
                  <c:v>34.954727698513672</c:v>
                </c:pt>
                <c:pt idx="43">
                  <c:v>32.224837914710861</c:v>
                </c:pt>
                <c:pt idx="44">
                  <c:v>29.652627719304341</c:v>
                </c:pt>
                <c:pt idx="45">
                  <c:v>27.173710692982358</c:v>
                </c:pt>
                <c:pt idx="46">
                  <c:v>24.857431099980353</c:v>
                </c:pt>
                <c:pt idx="47">
                  <c:v>22.707551825182627</c:v>
                </c:pt>
                <c:pt idx="48">
                  <c:v>20.711889979741617</c:v>
                </c:pt>
                <c:pt idx="49">
                  <c:v>18.858119119328364</c:v>
                </c:pt>
                <c:pt idx="50">
                  <c:v>17.154343940234433</c:v>
                </c:pt>
                <c:pt idx="51">
                  <c:v>15.540743580904273</c:v>
                </c:pt>
                <c:pt idx="52">
                  <c:v>14.024952920082622</c:v>
                </c:pt>
                <c:pt idx="53">
                  <c:v>12.612035629551412</c:v>
                </c:pt>
                <c:pt idx="54">
                  <c:v>11.288242378627269</c:v>
                </c:pt>
                <c:pt idx="55">
                  <c:v>10.045461985799664</c:v>
                </c:pt>
                <c:pt idx="56">
                  <c:v>8.8831776780201981</c:v>
                </c:pt>
                <c:pt idx="57">
                  <c:v>7.8061894867628485</c:v>
                </c:pt>
                <c:pt idx="58">
                  <c:v>6.7799147091924992</c:v>
                </c:pt>
                <c:pt idx="59">
                  <c:v>5.8356264632057187</c:v>
                </c:pt>
                <c:pt idx="60">
                  <c:v>4.9470210176456435</c:v>
                </c:pt>
                <c:pt idx="61">
                  <c:v>4.1053064298642816</c:v>
                </c:pt>
                <c:pt idx="62">
                  <c:v>3.3113204983811286</c:v>
                </c:pt>
                <c:pt idx="63">
                  <c:v>2.5817528516428436</c:v>
                </c:pt>
                <c:pt idx="64">
                  <c:v>1.8971786222944029</c:v>
                </c:pt>
                <c:pt idx="65">
                  <c:v>1.2475439266506543</c:v>
                </c:pt>
                <c:pt idx="66">
                  <c:v>0.64261136293066556</c:v>
                </c:pt>
                <c:pt idx="67">
                  <c:v>8.26671291286285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64-4E16-B082-EA94AF170FB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64-4E16-B082-EA94AF170FB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84.422660646268895</c:v>
                </c:pt>
                <c:pt idx="32">
                  <c:v>78.478766826696585</c:v>
                </c:pt>
                <c:pt idx="33">
                  <c:v>73.044212922060566</c:v>
                </c:pt>
                <c:pt idx="34">
                  <c:v>68.002669884114042</c:v>
                </c:pt>
                <c:pt idx="35">
                  <c:v>63.421714222814231</c:v>
                </c:pt>
                <c:pt idx="36">
                  <c:v>59.449727356663509</c:v>
                </c:pt>
                <c:pt idx="37">
                  <c:v>55.896391701612686</c:v>
                </c:pt>
                <c:pt idx="38">
                  <c:v>52.572348796001933</c:v>
                </c:pt>
                <c:pt idx="39">
                  <c:v>49.522351579436318</c:v>
                </c:pt>
                <c:pt idx="40">
                  <c:v>46.749034022638682</c:v>
                </c:pt>
                <c:pt idx="41">
                  <c:v>44.23272424943508</c:v>
                </c:pt>
                <c:pt idx="42">
                  <c:v>42.056135667686235</c:v>
                </c:pt>
                <c:pt idx="43">
                  <c:v>40.188625232903071</c:v>
                </c:pt>
                <c:pt idx="44">
                  <c:v>38.482656634829468</c:v>
                </c:pt>
                <c:pt idx="45">
                  <c:v>36.86031587450843</c:v>
                </c:pt>
                <c:pt idx="46">
                  <c:v>35.371982960593044</c:v>
                </c:pt>
                <c:pt idx="47">
                  <c:v>34.020846535801212</c:v>
                </c:pt>
                <c:pt idx="48">
                  <c:v>32.800615427598892</c:v>
                </c:pt>
                <c:pt idx="49">
                  <c:v>31.689272416048581</c:v>
                </c:pt>
                <c:pt idx="50">
                  <c:v>30.692139090773054</c:v>
                </c:pt>
                <c:pt idx="51">
                  <c:v>29.753307502511905</c:v>
                </c:pt>
                <c:pt idx="52">
                  <c:v>28.869576957792738</c:v>
                </c:pt>
                <c:pt idx="53">
                  <c:v>28.044486683923445</c:v>
                </c:pt>
                <c:pt idx="54">
                  <c:v>27.271644814297467</c:v>
                </c:pt>
                <c:pt idx="55">
                  <c:v>26.540991118251231</c:v>
                </c:pt>
                <c:pt idx="56">
                  <c:v>25.853417350113183</c:v>
                </c:pt>
                <c:pt idx="57">
                  <c:v>25.209988751266838</c:v>
                </c:pt>
                <c:pt idx="58">
                  <c:v>24.582305104729226</c:v>
                </c:pt>
                <c:pt idx="59">
                  <c:v>23.99394816630927</c:v>
                </c:pt>
                <c:pt idx="60">
                  <c:v>23.430194853631157</c:v>
                </c:pt>
                <c:pt idx="61">
                  <c:v>22.881260395265446</c:v>
                </c:pt>
                <c:pt idx="62">
                  <c:v>22.34960922961848</c:v>
                </c:pt>
                <c:pt idx="63">
                  <c:v>21.848522699343569</c:v>
                </c:pt>
                <c:pt idx="64">
                  <c:v>21.365223463495997</c:v>
                </c:pt>
                <c:pt idx="65">
                  <c:v>20.892726283552371</c:v>
                </c:pt>
                <c:pt idx="66">
                  <c:v>20.437618617833124</c:v>
                </c:pt>
                <c:pt idx="67">
                  <c:v>19.996062707217693</c:v>
                </c:pt>
                <c:pt idx="68">
                  <c:v>19.570338252199797</c:v>
                </c:pt>
                <c:pt idx="69">
                  <c:v>19.15554158759107</c:v>
                </c:pt>
                <c:pt idx="70">
                  <c:v>18.756012466807903</c:v>
                </c:pt>
                <c:pt idx="71">
                  <c:v>18.366302291765283</c:v>
                </c:pt>
                <c:pt idx="72">
                  <c:v>17.982147462100986</c:v>
                </c:pt>
                <c:pt idx="73">
                  <c:v>17.609069573318433</c:v>
                </c:pt>
                <c:pt idx="74">
                  <c:v>17.249094783876057</c:v>
                </c:pt>
                <c:pt idx="75">
                  <c:v>16.897491944218356</c:v>
                </c:pt>
                <c:pt idx="76">
                  <c:v>16.547061489639368</c:v>
                </c:pt>
                <c:pt idx="77">
                  <c:v>16.215807793686032</c:v>
                </c:pt>
                <c:pt idx="78">
                  <c:v>15.887430756171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D64-4E16-B082-EA94AF170FB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84.616104583895293</c:v>
                </c:pt>
                <c:pt idx="32">
                  <c:v>79.003739006122771</c:v>
                </c:pt>
                <c:pt idx="33">
                  <c:v>73.97277203058519</c:v>
                </c:pt>
                <c:pt idx="34">
                  <c:v>69.370784252597417</c:v>
                </c:pt>
                <c:pt idx="35">
                  <c:v>65.30806859518573</c:v>
                </c:pt>
                <c:pt idx="36">
                  <c:v>61.961649443803324</c:v>
                </c:pt>
                <c:pt idx="37">
                  <c:v>59.162351019427668</c:v>
                </c:pt>
                <c:pt idx="38">
                  <c:v>56.721634358371631</c:v>
                </c:pt>
                <c:pt idx="39">
                  <c:v>54.629851860948584</c:v>
                </c:pt>
                <c:pt idx="40">
                  <c:v>52.870287540913978</c:v>
                </c:pt>
                <c:pt idx="41">
                  <c:v>51.43692773691464</c:v>
                </c:pt>
                <c:pt idx="42">
                  <c:v>50.431772459640825</c:v>
                </c:pt>
                <c:pt idx="43">
                  <c:v>49.827893981062935</c:v>
                </c:pt>
                <c:pt idx="44">
                  <c:v>49.452418632930055</c:v>
                </c:pt>
                <c:pt idx="45">
                  <c:v>49.216004930127141</c:v>
                </c:pt>
                <c:pt idx="46">
                  <c:v>49.148615856366817</c:v>
                </c:pt>
                <c:pt idx="47">
                  <c:v>49.267203640450006</c:v>
                </c:pt>
                <c:pt idx="48">
                  <c:v>49.566761485776851</c:v>
                </c:pt>
                <c:pt idx="49">
                  <c:v>50.022865370393774</c:v>
                </c:pt>
                <c:pt idx="50">
                  <c:v>50.636071065819849</c:v>
                </c:pt>
                <c:pt idx="51">
                  <c:v>51.32929061677406</c:v>
                </c:pt>
                <c:pt idx="52">
                  <c:v>52.09695654839139</c:v>
                </c:pt>
                <c:pt idx="53">
                  <c:v>52.955377794665054</c:v>
                </c:pt>
                <c:pt idx="54">
                  <c:v>53.899698863293182</c:v>
                </c:pt>
                <c:pt idx="55">
                  <c:v>54.913706656243541</c:v>
                </c:pt>
                <c:pt idx="56">
                  <c:v>55.989811052030248</c:v>
                </c:pt>
                <c:pt idx="57">
                  <c:v>57.135512115026302</c:v>
                </c:pt>
                <c:pt idx="58">
                  <c:v>58.316473429539684</c:v>
                </c:pt>
                <c:pt idx="59">
                  <c:v>59.554552738217915</c:v>
                </c:pt>
                <c:pt idx="60">
                  <c:v>60.844687865558207</c:v>
                </c:pt>
                <c:pt idx="61">
                  <c:v>62.167227813478206</c:v>
                </c:pt>
                <c:pt idx="62">
                  <c:v>63.532293423062157</c:v>
                </c:pt>
                <c:pt idx="63">
                  <c:v>64.947819679550804</c:v>
                </c:pt>
                <c:pt idx="64">
                  <c:v>66.404396963606658</c:v>
                </c:pt>
                <c:pt idx="65">
                  <c:v>67.889614685056529</c:v>
                </c:pt>
                <c:pt idx="66">
                  <c:v>69.419366013967604</c:v>
                </c:pt>
                <c:pt idx="67">
                  <c:v>70.985118849802575</c:v>
                </c:pt>
                <c:pt idx="68">
                  <c:v>72.587093619533192</c:v>
                </c:pt>
                <c:pt idx="69">
                  <c:v>74.219055429362768</c:v>
                </c:pt>
                <c:pt idx="70">
                  <c:v>75.889656549175029</c:v>
                </c:pt>
                <c:pt idx="71">
                  <c:v>77.598729354760422</c:v>
                </c:pt>
                <c:pt idx="72">
                  <c:v>79.331328673375879</c:v>
                </c:pt>
                <c:pt idx="73">
                  <c:v>81.106335622241687</c:v>
                </c:pt>
                <c:pt idx="74">
                  <c:v>82.921699927291272</c:v>
                </c:pt>
                <c:pt idx="75">
                  <c:v>84.765709743625791</c:v>
                </c:pt>
                <c:pt idx="76">
                  <c:v>86.63978860041999</c:v>
                </c:pt>
                <c:pt idx="77">
                  <c:v>88.557328048162361</c:v>
                </c:pt>
                <c:pt idx="78">
                  <c:v>90.510772153351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D64-4E16-B082-EA94AF170FB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D64-4E16-B082-EA94AF170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58</c:v>
                </c:pt>
                <c:pt idx="1">
                  <c:v>305</c:v>
                </c:pt>
                <c:pt idx="2">
                  <c:v>559</c:v>
                </c:pt>
                <c:pt idx="3">
                  <c:v>730</c:v>
                </c:pt>
                <c:pt idx="4">
                  <c:v>912</c:v>
                </c:pt>
                <c:pt idx="5">
                  <c:v>1082</c:v>
                </c:pt>
                <c:pt idx="6">
                  <c:v>1258</c:v>
                </c:pt>
                <c:pt idx="7">
                  <c:v>1350</c:v>
                </c:pt>
                <c:pt idx="8">
                  <c:v>1451</c:v>
                </c:pt>
                <c:pt idx="9">
                  <c:v>1626</c:v>
                </c:pt>
                <c:pt idx="10">
                  <c:v>1764</c:v>
                </c:pt>
                <c:pt idx="11">
                  <c:v>1903</c:v>
                </c:pt>
                <c:pt idx="12">
                  <c:v>2022</c:v>
                </c:pt>
                <c:pt idx="13">
                  <c:v>2126</c:v>
                </c:pt>
                <c:pt idx="14">
                  <c:v>2190</c:v>
                </c:pt>
                <c:pt idx="15">
                  <c:v>2255</c:v>
                </c:pt>
                <c:pt idx="16">
                  <c:v>2358</c:v>
                </c:pt>
                <c:pt idx="17">
                  <c:v>2438</c:v>
                </c:pt>
                <c:pt idx="18">
                  <c:v>2507</c:v>
                </c:pt>
                <c:pt idx="19">
                  <c:v>2575</c:v>
                </c:pt>
                <c:pt idx="20">
                  <c:v>2651</c:v>
                </c:pt>
                <c:pt idx="21">
                  <c:v>2686</c:v>
                </c:pt>
                <c:pt idx="22">
                  <c:v>2715</c:v>
                </c:pt>
                <c:pt idx="23">
                  <c:v>2772</c:v>
                </c:pt>
                <c:pt idx="24">
                  <c:v>2830</c:v>
                </c:pt>
                <c:pt idx="25">
                  <c:v>2891</c:v>
                </c:pt>
                <c:pt idx="26">
                  <c:v>2929</c:v>
                </c:pt>
                <c:pt idx="27">
                  <c:v>2969</c:v>
                </c:pt>
                <c:pt idx="28">
                  <c:v>2988</c:v>
                </c:pt>
                <c:pt idx="29">
                  <c:v>3015</c:v>
                </c:pt>
                <c:pt idx="30">
                  <c:v>3056</c:v>
                </c:pt>
                <c:pt idx="31">
                  <c:v>3084</c:v>
                </c:pt>
                <c:pt idx="32">
                  <c:v>3122</c:v>
                </c:pt>
                <c:pt idx="33">
                  <c:v>3142</c:v>
                </c:pt>
                <c:pt idx="34">
                  <c:v>3169</c:v>
                </c:pt>
                <c:pt idx="35">
                  <c:v>3185</c:v>
                </c:pt>
                <c:pt idx="36">
                  <c:v>3197</c:v>
                </c:pt>
                <c:pt idx="37">
                  <c:v>3210</c:v>
                </c:pt>
                <c:pt idx="38">
                  <c:v>3231</c:v>
                </c:pt>
                <c:pt idx="39">
                  <c:v>3245</c:v>
                </c:pt>
                <c:pt idx="40">
                  <c:v>3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073.2518096429558</c:v>
                </c:pt>
                <c:pt idx="32">
                  <c:v>3099.4003984347946</c:v>
                </c:pt>
                <c:pt idx="33">
                  <c:v>3123.833619772071</c:v>
                </c:pt>
                <c:pt idx="34">
                  <c:v>3146.5878429882141</c:v>
                </c:pt>
                <c:pt idx="35">
                  <c:v>3167.8822212329105</c:v>
                </c:pt>
                <c:pt idx="36">
                  <c:v>3188.0812697278525</c:v>
                </c:pt>
                <c:pt idx="37">
                  <c:v>3207.2956781307803</c:v>
                </c:pt>
                <c:pt idx="38">
                  <c:v>3225.5364985839115</c:v>
                </c:pt>
                <c:pt idx="39">
                  <c:v>3242.8627671642753</c:v>
                </c:pt>
                <c:pt idx="40">
                  <c:v>3259.2427164254987</c:v>
                </c:pt>
                <c:pt idx="41">
                  <c:v>3274.7280875232682</c:v>
                </c:pt>
                <c:pt idx="42">
                  <c:v>3289.3588003183468</c:v>
                </c:pt>
                <c:pt idx="43">
                  <c:v>3303.1913460665237</c:v>
                </c:pt>
                <c:pt idx="44">
                  <c:v>3316.3461565945327</c:v>
                </c:pt>
                <c:pt idx="45">
                  <c:v>3328.782479680187</c:v>
                </c:pt>
                <c:pt idx="46">
                  <c:v>3340.5962287383809</c:v>
                </c:pt>
                <c:pt idx="47">
                  <c:v>3351.7869243998284</c:v>
                </c:pt>
                <c:pt idx="48">
                  <c:v>3362.392221462258</c:v>
                </c:pt>
                <c:pt idx="49">
                  <c:v>3372.4873872999378</c:v>
                </c:pt>
                <c:pt idx="50">
                  <c:v>3382.093903627363</c:v>
                </c:pt>
                <c:pt idx="51">
                  <c:v>3391.2237407091088</c:v>
                </c:pt>
                <c:pt idx="52">
                  <c:v>3399.9137123927867</c:v>
                </c:pt>
                <c:pt idx="53">
                  <c:v>3408.1909488669698</c:v>
                </c:pt>
                <c:pt idx="54">
                  <c:v>3416.0721451487916</c:v>
                </c:pt>
                <c:pt idx="55">
                  <c:v>3423.5940384500718</c:v>
                </c:pt>
                <c:pt idx="56">
                  <c:v>3430.7769719423886</c:v>
                </c:pt>
                <c:pt idx="57">
                  <c:v>3437.6328091511386</c:v>
                </c:pt>
                <c:pt idx="58">
                  <c:v>3444.1747605098135</c:v>
                </c:pt>
                <c:pt idx="59">
                  <c:v>3450.4747411249627</c:v>
                </c:pt>
                <c:pt idx="60">
                  <c:v>3456.4922302056293</c:v>
                </c:pt>
                <c:pt idx="61">
                  <c:v>3462.2545580842852</c:v>
                </c:pt>
                <c:pt idx="62">
                  <c:v>3467.7754783035198</c:v>
                </c:pt>
                <c:pt idx="63">
                  <c:v>3473.0949502372678</c:v>
                </c:pt>
                <c:pt idx="64">
                  <c:v>3478.1940219406533</c:v>
                </c:pt>
                <c:pt idx="65">
                  <c:v>3483.1070313842065</c:v>
                </c:pt>
                <c:pt idx="66">
                  <c:v>3487.8448832303911</c:v>
                </c:pt>
                <c:pt idx="67">
                  <c:v>3492.446346804245</c:v>
                </c:pt>
                <c:pt idx="68">
                  <c:v>3496.8599699689221</c:v>
                </c:pt>
                <c:pt idx="69">
                  <c:v>3501.1451648906732</c:v>
                </c:pt>
                <c:pt idx="70">
                  <c:v>3505.2846978059388</c:v>
                </c:pt>
                <c:pt idx="71">
                  <c:v>3509.2791432417362</c:v>
                </c:pt>
                <c:pt idx="72">
                  <c:v>3513.1641686145012</c:v>
                </c:pt>
                <c:pt idx="73">
                  <c:v>3516.9168770565229</c:v>
                </c:pt>
                <c:pt idx="74">
                  <c:v>3520.5996399986325</c:v>
                </c:pt>
                <c:pt idx="75">
                  <c:v>3524.1624902074254</c:v>
                </c:pt>
                <c:pt idx="76">
                  <c:v>3527.6315776666379</c:v>
                </c:pt>
                <c:pt idx="77">
                  <c:v>3530.9812995724205</c:v>
                </c:pt>
                <c:pt idx="78">
                  <c:v>3534.2732775097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8E-4759-B11B-14E8A2195277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98E-4759-B11B-14E8A2195277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074.4110563967843</c:v>
                </c:pt>
                <c:pt idx="32">
                  <c:v>3102.539855606432</c:v>
                </c:pt>
                <c:pt idx="33">
                  <c:v>3129.4773452448135</c:v>
                </c:pt>
                <c:pt idx="34">
                  <c:v>3155.093295106868</c:v>
                </c:pt>
                <c:pt idx="35">
                  <c:v>3179.7062426846824</c:v>
                </c:pt>
                <c:pt idx="36">
                  <c:v>3203.8533403261754</c:v>
                </c:pt>
                <c:pt idx="37">
                  <c:v>3227.7681128684126</c:v>
                </c:pt>
                <c:pt idx="38">
                  <c:v>3251.4340366841498</c:v>
                </c:pt>
                <c:pt idx="39">
                  <c:v>3274.7441854466451</c:v>
                </c:pt>
                <c:pt idx="40">
                  <c:v>3297.602957560819</c:v>
                </c:pt>
                <c:pt idx="41">
                  <c:v>3320.0060633483372</c:v>
                </c:pt>
                <c:pt idx="42">
                  <c:v>3342.0694027608697</c:v>
                </c:pt>
                <c:pt idx="43">
                  <c:v>3363.8512982244283</c:v>
                </c:pt>
                <c:pt idx="44">
                  <c:v>3385.3989148241817</c:v>
                </c:pt>
                <c:pt idx="45">
                  <c:v>3406.6155948475498</c:v>
                </c:pt>
                <c:pt idx="46">
                  <c:v>3427.5084397146784</c:v>
                </c:pt>
                <c:pt idx="47">
                  <c:v>3448.078452696609</c:v>
                </c:pt>
                <c:pt idx="48">
                  <c:v>3468.3814749811063</c:v>
                </c:pt>
                <c:pt idx="49">
                  <c:v>3488.4209940560395</c:v>
                </c:pt>
                <c:pt idx="50">
                  <c:v>3508.1935222179309</c:v>
                </c:pt>
                <c:pt idx="51">
                  <c:v>3527.7281428521092</c:v>
                </c:pt>
                <c:pt idx="52">
                  <c:v>3546.989882702379</c:v>
                </c:pt>
                <c:pt idx="53">
                  <c:v>3565.9828485638063</c:v>
                </c:pt>
                <c:pt idx="54">
                  <c:v>3584.7427406480056</c:v>
                </c:pt>
                <c:pt idx="55">
                  <c:v>3603.2697676990865</c:v>
                </c:pt>
                <c:pt idx="56">
                  <c:v>3621.5709704544279</c:v>
                </c:pt>
                <c:pt idx="57">
                  <c:v>3639.6175796398165</c:v>
                </c:pt>
                <c:pt idx="58">
                  <c:v>3657.440538087707</c:v>
                </c:pt>
                <c:pt idx="59">
                  <c:v>3675.0444794803479</c:v>
                </c:pt>
                <c:pt idx="60">
                  <c:v>3692.4348779039065</c:v>
                </c:pt>
                <c:pt idx="61">
                  <c:v>3709.6094611628141</c:v>
                </c:pt>
                <c:pt idx="62">
                  <c:v>3726.5715701810695</c:v>
                </c:pt>
                <c:pt idx="63">
                  <c:v>3743.3226383744986</c:v>
                </c:pt>
                <c:pt idx="64">
                  <c:v>3759.8641926905766</c:v>
                </c:pt>
                <c:pt idx="65">
                  <c:v>3776.2300372220707</c:v>
                </c:pt>
                <c:pt idx="66">
                  <c:v>3792.3956921973877</c:v>
                </c:pt>
                <c:pt idx="67">
                  <c:v>3808.3585675673894</c:v>
                </c:pt>
                <c:pt idx="68">
                  <c:v>3824.1514675709041</c:v>
                </c:pt>
                <c:pt idx="69">
                  <c:v>3839.7496472041676</c:v>
                </c:pt>
                <c:pt idx="70">
                  <c:v>3855.1822551670703</c:v>
                </c:pt>
                <c:pt idx="71">
                  <c:v>3870.4240481610177</c:v>
                </c:pt>
                <c:pt idx="72">
                  <c:v>3885.5037534287694</c:v>
                </c:pt>
                <c:pt idx="73">
                  <c:v>3900.3953020671324</c:v>
                </c:pt>
                <c:pt idx="74">
                  <c:v>3915.1272808164867</c:v>
                </c:pt>
                <c:pt idx="75">
                  <c:v>3929.7055237715103</c:v>
                </c:pt>
                <c:pt idx="76">
                  <c:v>3944.1002721623227</c:v>
                </c:pt>
                <c:pt idx="77">
                  <c:v>3958.3712656585049</c:v>
                </c:pt>
                <c:pt idx="78">
                  <c:v>3972.466292265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98E-4759-B11B-14E8A21952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075.5703031505909</c:v>
                </c:pt>
                <c:pt idx="32">
                  <c:v>3105.711514076771</c:v>
                </c:pt>
                <c:pt idx="33">
                  <c:v>3135.1599759131277</c:v>
                </c:pt>
                <c:pt idx="34">
                  <c:v>3163.6086060126836</c:v>
                </c:pt>
                <c:pt idx="35">
                  <c:v>3191.665322278619</c:v>
                </c:pt>
                <c:pt idx="36">
                  <c:v>3220.0772875347611</c:v>
                </c:pt>
                <c:pt idx="37">
                  <c:v>3249.2488449033626</c:v>
                </c:pt>
                <c:pt idx="38">
                  <c:v>3279.2221550273316</c:v>
                </c:pt>
                <c:pt idx="39">
                  <c:v>3309.6280741697628</c:v>
                </c:pt>
                <c:pt idx="40">
                  <c:v>3340.3070390729918</c:v>
                </c:pt>
                <c:pt idx="41">
                  <c:v>3371.3756075834608</c:v>
                </c:pt>
                <c:pt idx="42">
                  <c:v>3403.1059646574868</c:v>
                </c:pt>
                <c:pt idx="43">
                  <c:v>3435.6233739040399</c:v>
                </c:pt>
                <c:pt idx="44">
                  <c:v>3468.8693837520041</c:v>
                </c:pt>
                <c:pt idx="45">
                  <c:v>3502.7343817796718</c:v>
                </c:pt>
                <c:pt idx="46">
                  <c:v>3537.1600700692579</c:v>
                </c:pt>
                <c:pt idx="47">
                  <c:v>3572.2660758490892</c:v>
                </c:pt>
                <c:pt idx="48">
                  <c:v>3608.1322105079453</c:v>
                </c:pt>
                <c:pt idx="49">
                  <c:v>3644.7720889795455</c:v>
                </c:pt>
                <c:pt idx="50">
                  <c:v>3682.1877526811659</c:v>
                </c:pt>
                <c:pt idx="51">
                  <c:v>3720.3176847992509</c:v>
                </c:pt>
                <c:pt idx="52">
                  <c:v>3759.1442975481186</c:v>
                </c:pt>
                <c:pt idx="53">
                  <c:v>3798.7702843582592</c:v>
                </c:pt>
                <c:pt idx="54">
                  <c:v>3839.2512813330177</c:v>
                </c:pt>
                <c:pt idx="55">
                  <c:v>3880.5634310557798</c:v>
                </c:pt>
                <c:pt idx="56">
                  <c:v>3922.6818759264788</c:v>
                </c:pt>
                <c:pt idx="57">
                  <c:v>3965.6380034226968</c:v>
                </c:pt>
                <c:pt idx="58">
                  <c:v>4009.444504788029</c:v>
                </c:pt>
                <c:pt idx="59">
                  <c:v>4054.1074679278099</c:v>
                </c:pt>
                <c:pt idx="60">
                  <c:v>4099.6999025198456</c:v>
                </c:pt>
                <c:pt idx="61">
                  <c:v>4146.1714625249515</c:v>
                </c:pt>
                <c:pt idx="62">
                  <c:v>4193.5844219858045</c:v>
                </c:pt>
                <c:pt idx="63">
                  <c:v>4241.9227619209487</c:v>
                </c:pt>
                <c:pt idx="64">
                  <c:v>4291.2208923811049</c:v>
                </c:pt>
                <c:pt idx="65">
                  <c:v>4341.4904950878772</c:v>
                </c:pt>
                <c:pt idx="66">
                  <c:v>4392.7721005570638</c:v>
                </c:pt>
                <c:pt idx="67">
                  <c:v>4445.0471769115975</c:v>
                </c:pt>
                <c:pt idx="68">
                  <c:v>4498.3507244305147</c:v>
                </c:pt>
                <c:pt idx="69">
                  <c:v>4552.6628516253841</c:v>
                </c:pt>
                <c:pt idx="70">
                  <c:v>4608.049038009427</c:v>
                </c:pt>
                <c:pt idx="71">
                  <c:v>4664.5270503033316</c:v>
                </c:pt>
                <c:pt idx="72">
                  <c:v>4722.0739785174883</c:v>
                </c:pt>
                <c:pt idx="73">
                  <c:v>4780.7557873193</c:v>
                </c:pt>
                <c:pt idx="74">
                  <c:v>4840.5902830527848</c:v>
                </c:pt>
                <c:pt idx="75">
                  <c:v>4901.555631848998</c:v>
                </c:pt>
                <c:pt idx="76">
                  <c:v>4963.6868649571552</c:v>
                </c:pt>
                <c:pt idx="77">
                  <c:v>5027.0289901708675</c:v>
                </c:pt>
                <c:pt idx="78">
                  <c:v>5091.5966535236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98E-4759-B11B-14E8A21952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4</c:v>
                </c:pt>
                <c:pt idx="1">
                  <c:v>26</c:v>
                </c:pt>
                <c:pt idx="2">
                  <c:v>40</c:v>
                </c:pt>
                <c:pt idx="3">
                  <c:v>53</c:v>
                </c:pt>
                <c:pt idx="4">
                  <c:v>74</c:v>
                </c:pt>
                <c:pt idx="5">
                  <c:v>88</c:v>
                </c:pt>
                <c:pt idx="6">
                  <c:v>105</c:v>
                </c:pt>
                <c:pt idx="7">
                  <c:v>118</c:v>
                </c:pt>
                <c:pt idx="8">
                  <c:v>123</c:v>
                </c:pt>
                <c:pt idx="9">
                  <c:v>144</c:v>
                </c:pt>
                <c:pt idx="10">
                  <c:v>161</c:v>
                </c:pt>
                <c:pt idx="11">
                  <c:v>179</c:v>
                </c:pt>
                <c:pt idx="12">
                  <c:v>190</c:v>
                </c:pt>
                <c:pt idx="13">
                  <c:v>201</c:v>
                </c:pt>
                <c:pt idx="14">
                  <c:v>207</c:v>
                </c:pt>
                <c:pt idx="15">
                  <c:v>211</c:v>
                </c:pt>
                <c:pt idx="16">
                  <c:v>221</c:v>
                </c:pt>
                <c:pt idx="17">
                  <c:v>232</c:v>
                </c:pt>
                <c:pt idx="18">
                  <c:v>242</c:v>
                </c:pt>
                <c:pt idx="19">
                  <c:v>247</c:v>
                </c:pt>
                <c:pt idx="20">
                  <c:v>256</c:v>
                </c:pt>
                <c:pt idx="21">
                  <c:v>258</c:v>
                </c:pt>
                <c:pt idx="22">
                  <c:v>262</c:v>
                </c:pt>
                <c:pt idx="23">
                  <c:v>273</c:v>
                </c:pt>
                <c:pt idx="24">
                  <c:v>275</c:v>
                </c:pt>
                <c:pt idx="25">
                  <c:v>282</c:v>
                </c:pt>
                <c:pt idx="26">
                  <c:v>288</c:v>
                </c:pt>
                <c:pt idx="27">
                  <c:v>292</c:v>
                </c:pt>
                <c:pt idx="28">
                  <c:v>292</c:v>
                </c:pt>
                <c:pt idx="29">
                  <c:v>295</c:v>
                </c:pt>
                <c:pt idx="30">
                  <c:v>297</c:v>
                </c:pt>
                <c:pt idx="31">
                  <c:v>303</c:v>
                </c:pt>
                <c:pt idx="32">
                  <c:v>306</c:v>
                </c:pt>
                <c:pt idx="33">
                  <c:v>310</c:v>
                </c:pt>
                <c:pt idx="34">
                  <c:v>315</c:v>
                </c:pt>
                <c:pt idx="35">
                  <c:v>318</c:v>
                </c:pt>
                <c:pt idx="36">
                  <c:v>319</c:v>
                </c:pt>
                <c:pt idx="37">
                  <c:v>320</c:v>
                </c:pt>
                <c:pt idx="38">
                  <c:v>324</c:v>
                </c:pt>
                <c:pt idx="39">
                  <c:v>325</c:v>
                </c:pt>
                <c:pt idx="40">
                  <c:v>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98.36079450127806</c:v>
                </c:pt>
                <c:pt idx="32">
                  <c:v>300.55056440707432</c:v>
                </c:pt>
                <c:pt idx="33">
                  <c:v>302.59482753879155</c:v>
                </c:pt>
                <c:pt idx="34">
                  <c:v>304.49775971395798</c:v>
                </c:pt>
                <c:pt idx="35">
                  <c:v>306.27981609366202</c:v>
                </c:pt>
                <c:pt idx="36">
                  <c:v>307.9710681234929</c:v>
                </c:pt>
                <c:pt idx="37">
                  <c:v>309.58211435430286</c:v>
                </c:pt>
                <c:pt idx="38">
                  <c:v>311.11260467427098</c:v>
                </c:pt>
                <c:pt idx="39">
                  <c:v>312.56761631160583</c:v>
                </c:pt>
                <c:pt idx="40">
                  <c:v>313.94340642896304</c:v>
                </c:pt>
                <c:pt idx="41">
                  <c:v>315.24372491680612</c:v>
                </c:pt>
                <c:pt idx="42">
                  <c:v>316.47235086771843</c:v>
                </c:pt>
                <c:pt idx="43">
                  <c:v>317.63406943512337</c:v>
                </c:pt>
                <c:pt idx="44">
                  <c:v>318.73892047002175</c:v>
                </c:pt>
                <c:pt idx="45">
                  <c:v>319.7833916993269</c:v>
                </c:pt>
                <c:pt idx="46">
                  <c:v>320.77552666240348</c:v>
                </c:pt>
                <c:pt idx="47">
                  <c:v>321.7151970029563</c:v>
                </c:pt>
                <c:pt idx="48">
                  <c:v>322.60564239617003</c:v>
                </c:pt>
                <c:pt idx="49">
                  <c:v>323.45294540702611</c:v>
                </c:pt>
                <c:pt idx="50">
                  <c:v>324.25921232701944</c:v>
                </c:pt>
                <c:pt idx="51">
                  <c:v>325.02558898671185</c:v>
                </c:pt>
                <c:pt idx="52">
                  <c:v>325.75488586983693</c:v>
                </c:pt>
                <c:pt idx="53">
                  <c:v>326.44943920685347</c:v>
                </c:pt>
                <c:pt idx="54">
                  <c:v>327.11076726418116</c:v>
                </c:pt>
                <c:pt idx="55">
                  <c:v>327.74174347333735</c:v>
                </c:pt>
                <c:pt idx="56">
                  <c:v>328.34418849861959</c:v>
                </c:pt>
                <c:pt idx="57">
                  <c:v>328.91917826868843</c:v>
                </c:pt>
                <c:pt idx="58">
                  <c:v>329.46789458636903</c:v>
                </c:pt>
                <c:pt idx="59">
                  <c:v>329.99601313802197</c:v>
                </c:pt>
                <c:pt idx="60">
                  <c:v>330.50048192323646</c:v>
                </c:pt>
                <c:pt idx="61">
                  <c:v>330.983494493357</c:v>
                </c:pt>
                <c:pt idx="62">
                  <c:v>331.44622768945266</c:v>
                </c:pt>
                <c:pt idx="63">
                  <c:v>331.89193300580826</c:v>
                </c:pt>
                <c:pt idx="64">
                  <c:v>332.31916036429027</c:v>
                </c:pt>
                <c:pt idx="65">
                  <c:v>332.73070735352269</c:v>
                </c:pt>
                <c:pt idx="66">
                  <c:v>333.1274882496632</c:v>
                </c:pt>
                <c:pt idx="67">
                  <c:v>333.51264513247224</c:v>
                </c:pt>
                <c:pt idx="68">
                  <c:v>333.88212443842184</c:v>
                </c:pt>
                <c:pt idx="69">
                  <c:v>334.24071958043208</c:v>
                </c:pt>
                <c:pt idx="70">
                  <c:v>334.5870886561658</c:v>
                </c:pt>
                <c:pt idx="71">
                  <c:v>334.92133027281784</c:v>
                </c:pt>
                <c:pt idx="72">
                  <c:v>335.24632460611184</c:v>
                </c:pt>
                <c:pt idx="73">
                  <c:v>335.5602671122258</c:v>
                </c:pt>
                <c:pt idx="74">
                  <c:v>335.86817035939936</c:v>
                </c:pt>
                <c:pt idx="75">
                  <c:v>336.16606013356807</c:v>
                </c:pt>
                <c:pt idx="76">
                  <c:v>336.45606250978267</c:v>
                </c:pt>
                <c:pt idx="77">
                  <c:v>336.73614815184186</c:v>
                </c:pt>
                <c:pt idx="78">
                  <c:v>337.01125893453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14-4659-8FFA-FE90FE127B1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14-4659-8FFA-FE90FE127B1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98.45329701321799</c:v>
                </c:pt>
                <c:pt idx="32">
                  <c:v>300.80113334082517</c:v>
                </c:pt>
                <c:pt idx="33">
                  <c:v>303.04588133610775</c:v>
                </c:pt>
                <c:pt idx="34">
                  <c:v>305.17879656837664</c:v>
                </c:pt>
                <c:pt idx="35">
                  <c:v>307.22866413269753</c:v>
                </c:pt>
                <c:pt idx="36">
                  <c:v>309.23979928621628</c:v>
                </c:pt>
                <c:pt idx="37">
                  <c:v>311.23293362382014</c:v>
                </c:pt>
                <c:pt idx="38">
                  <c:v>313.20575499023545</c:v>
                </c:pt>
                <c:pt idx="39">
                  <c:v>315.15012595707401</c:v>
                </c:pt>
                <c:pt idx="40">
                  <c:v>317.05715308268611</c:v>
                </c:pt>
                <c:pt idx="41">
                  <c:v>318.92596462972131</c:v>
                </c:pt>
                <c:pt idx="42">
                  <c:v>320.76627654839922</c:v>
                </c:pt>
                <c:pt idx="43">
                  <c:v>322.58293563833882</c:v>
                </c:pt>
                <c:pt idx="44">
                  <c:v>324.38004496283997</c:v>
                </c:pt>
                <c:pt idx="45">
                  <c:v>326.14951486157503</c:v>
                </c:pt>
                <c:pt idx="46">
                  <c:v>327.89214028944161</c:v>
                </c:pt>
                <c:pt idx="47">
                  <c:v>329.6077851674857</c:v>
                </c:pt>
                <c:pt idx="48">
                  <c:v>331.30098684490463</c:v>
                </c:pt>
                <c:pt idx="49">
                  <c:v>332.97200174413348</c:v>
                </c:pt>
                <c:pt idx="50">
                  <c:v>334.62084147754922</c:v>
                </c:pt>
                <c:pt idx="51">
                  <c:v>336.24989408895487</c:v>
                </c:pt>
                <c:pt idx="52">
                  <c:v>337.85613254068943</c:v>
                </c:pt>
                <c:pt idx="53">
                  <c:v>339.43996234763495</c:v>
                </c:pt>
                <c:pt idx="54">
                  <c:v>341.00431200683403</c:v>
                </c:pt>
                <c:pt idx="55">
                  <c:v>342.54906684921684</c:v>
                </c:pt>
                <c:pt idx="56">
                  <c:v>344.07492386091945</c:v>
                </c:pt>
                <c:pt idx="57">
                  <c:v>345.57965091573067</c:v>
                </c:pt>
                <c:pt idx="58">
                  <c:v>347.06578496671216</c:v>
                </c:pt>
                <c:pt idx="59">
                  <c:v>348.53357014453468</c:v>
                </c:pt>
                <c:pt idx="60">
                  <c:v>349.98356612488112</c:v>
                </c:pt>
                <c:pt idx="61">
                  <c:v>351.41553432869284</c:v>
                </c:pt>
                <c:pt idx="62">
                  <c:v>352.82977386427513</c:v>
                </c:pt>
                <c:pt idx="63">
                  <c:v>354.22641569095208</c:v>
                </c:pt>
                <c:pt idx="64">
                  <c:v>355.6055941429654</c:v>
                </c:pt>
                <c:pt idx="65">
                  <c:v>356.97001845619263</c:v>
                </c:pt>
                <c:pt idx="66">
                  <c:v>358.31774691752031</c:v>
                </c:pt>
                <c:pt idx="67">
                  <c:v>359.64859512688338</c:v>
                </c:pt>
                <c:pt idx="68">
                  <c:v>360.96519023047097</c:v>
                </c:pt>
                <c:pt idx="69">
                  <c:v>362.26556856960855</c:v>
                </c:pt>
                <c:pt idx="70">
                  <c:v>363.55208184751416</c:v>
                </c:pt>
                <c:pt idx="71">
                  <c:v>364.82272088129855</c:v>
                </c:pt>
                <c:pt idx="72">
                  <c:v>366.07979871872908</c:v>
                </c:pt>
                <c:pt idx="73">
                  <c:v>367.32123945997307</c:v>
                </c:pt>
                <c:pt idx="74">
                  <c:v>368.54933967013022</c:v>
                </c:pt>
                <c:pt idx="75">
                  <c:v>369.7645689138655</c:v>
                </c:pt>
                <c:pt idx="76">
                  <c:v>370.96456415351525</c:v>
                </c:pt>
                <c:pt idx="77">
                  <c:v>372.15410728753113</c:v>
                </c:pt>
                <c:pt idx="78">
                  <c:v>373.32902916797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14-4659-8FFA-FE90FE127B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98.54579952515621</c:v>
                </c:pt>
                <c:pt idx="32">
                  <c:v>301.05427178879552</c:v>
                </c:pt>
                <c:pt idx="33">
                  <c:v>303.50004111025203</c:v>
                </c:pt>
                <c:pt idx="34">
                  <c:v>305.86063756559173</c:v>
                </c:pt>
                <c:pt idx="35">
                  <c:v>308.18832384574</c:v>
                </c:pt>
                <c:pt idx="36">
                  <c:v>310.54463757925839</c:v>
                </c:pt>
                <c:pt idx="37">
                  <c:v>312.96435062997324</c:v>
                </c:pt>
                <c:pt idx="38">
                  <c:v>315.45015415248929</c:v>
                </c:pt>
                <c:pt idx="39">
                  <c:v>317.97314814766031</c:v>
                </c:pt>
                <c:pt idx="40">
                  <c:v>320.51947756885369</c:v>
                </c:pt>
                <c:pt idx="41">
                  <c:v>323.09792608776036</c:v>
                </c:pt>
                <c:pt idx="42">
                  <c:v>325.73072994413241</c:v>
                </c:pt>
                <c:pt idx="43">
                  <c:v>328.4282008263304</c:v>
                </c:pt>
                <c:pt idx="44">
                  <c:v>331.18609857997654</c:v>
                </c:pt>
                <c:pt idx="45">
                  <c:v>333.99535032535715</c:v>
                </c:pt>
                <c:pt idx="46">
                  <c:v>336.8515169248663</c:v>
                </c:pt>
                <c:pt idx="47">
                  <c:v>339.76397217059275</c:v>
                </c:pt>
                <c:pt idx="48">
                  <c:v>342.73917888075783</c:v>
                </c:pt>
                <c:pt idx="49">
                  <c:v>345.77827872912883</c:v>
                </c:pt>
                <c:pt idx="50">
                  <c:v>348.88177159674581</c:v>
                </c:pt>
                <c:pt idx="51">
                  <c:v>352.04484291679972</c:v>
                </c:pt>
                <c:pt idx="52">
                  <c:v>355.26588554986046</c:v>
                </c:pt>
                <c:pt idx="53">
                  <c:v>358.55316171885505</c:v>
                </c:pt>
                <c:pt idx="54">
                  <c:v>361.91120705660444</c:v>
                </c:pt>
                <c:pt idx="55">
                  <c:v>365.33803919188529</c:v>
                </c:pt>
                <c:pt idx="56">
                  <c:v>368.83183621100187</c:v>
                </c:pt>
                <c:pt idx="57">
                  <c:v>372.39519217451846</c:v>
                </c:pt>
                <c:pt idx="58">
                  <c:v>376.02920946390719</c:v>
                </c:pt>
                <c:pt idx="59">
                  <c:v>379.73430882637285</c:v>
                </c:pt>
                <c:pt idx="60">
                  <c:v>383.51646333237346</c:v>
                </c:pt>
                <c:pt idx="61">
                  <c:v>387.37163291138984</c:v>
                </c:pt>
                <c:pt idx="62">
                  <c:v>391.30487152415992</c:v>
                </c:pt>
                <c:pt idx="63">
                  <c:v>395.31493511404045</c:v>
                </c:pt>
                <c:pt idx="64">
                  <c:v>399.4046272430345</c:v>
                </c:pt>
                <c:pt idx="65">
                  <c:v>403.57493068355393</c:v>
                </c:pt>
                <c:pt idx="66">
                  <c:v>407.82913691647968</c:v>
                </c:pt>
                <c:pt idx="67">
                  <c:v>412.16582813271685</c:v>
                </c:pt>
                <c:pt idx="68">
                  <c:v>416.58786191350652</c:v>
                </c:pt>
                <c:pt idx="69">
                  <c:v>421.0937097213083</c:v>
                </c:pt>
                <c:pt idx="70">
                  <c:v>425.6886558675086</c:v>
                </c:pt>
                <c:pt idx="71">
                  <c:v>430.37416519357583</c:v>
                </c:pt>
                <c:pt idx="72">
                  <c:v>435.14847240571169</c:v>
                </c:pt>
                <c:pt idx="73">
                  <c:v>440.01689981710058</c:v>
                </c:pt>
                <c:pt idx="74">
                  <c:v>444.98091145030128</c:v>
                </c:pt>
                <c:pt idx="75">
                  <c:v>450.03884215168364</c:v>
                </c:pt>
                <c:pt idx="76">
                  <c:v>455.19355587189762</c:v>
                </c:pt>
                <c:pt idx="77">
                  <c:v>460.44870028272288</c:v>
                </c:pt>
                <c:pt idx="78">
                  <c:v>465.80551823826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14-4659-8FFA-FE90FE127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18</c:v>
                </c:pt>
                <c:pt idx="2">
                  <c:v>37</c:v>
                </c:pt>
                <c:pt idx="3">
                  <c:v>46</c:v>
                </c:pt>
                <c:pt idx="4">
                  <c:v>61</c:v>
                </c:pt>
                <c:pt idx="5">
                  <c:v>66</c:v>
                </c:pt>
                <c:pt idx="6">
                  <c:v>74</c:v>
                </c:pt>
                <c:pt idx="7">
                  <c:v>81</c:v>
                </c:pt>
                <c:pt idx="8">
                  <c:v>83</c:v>
                </c:pt>
                <c:pt idx="9">
                  <c:v>92</c:v>
                </c:pt>
                <c:pt idx="10">
                  <c:v>100</c:v>
                </c:pt>
                <c:pt idx="11">
                  <c:v>109</c:v>
                </c:pt>
                <c:pt idx="12">
                  <c:v>115</c:v>
                </c:pt>
                <c:pt idx="13">
                  <c:v>118</c:v>
                </c:pt>
                <c:pt idx="14">
                  <c:v>118</c:v>
                </c:pt>
                <c:pt idx="15">
                  <c:v>123</c:v>
                </c:pt>
                <c:pt idx="16">
                  <c:v>132</c:v>
                </c:pt>
                <c:pt idx="17">
                  <c:v>136</c:v>
                </c:pt>
                <c:pt idx="18">
                  <c:v>138</c:v>
                </c:pt>
                <c:pt idx="19">
                  <c:v>140</c:v>
                </c:pt>
                <c:pt idx="20">
                  <c:v>142</c:v>
                </c:pt>
                <c:pt idx="21">
                  <c:v>143</c:v>
                </c:pt>
                <c:pt idx="22">
                  <c:v>147</c:v>
                </c:pt>
                <c:pt idx="23">
                  <c:v>149</c:v>
                </c:pt>
                <c:pt idx="24">
                  <c:v>152</c:v>
                </c:pt>
                <c:pt idx="25">
                  <c:v>154</c:v>
                </c:pt>
                <c:pt idx="26">
                  <c:v>156</c:v>
                </c:pt>
                <c:pt idx="27">
                  <c:v>158</c:v>
                </c:pt>
                <c:pt idx="28">
                  <c:v>160</c:v>
                </c:pt>
                <c:pt idx="29">
                  <c:v>162</c:v>
                </c:pt>
                <c:pt idx="30">
                  <c:v>164</c:v>
                </c:pt>
                <c:pt idx="31">
                  <c:v>164</c:v>
                </c:pt>
                <c:pt idx="32">
                  <c:v>164</c:v>
                </c:pt>
                <c:pt idx="33">
                  <c:v>165</c:v>
                </c:pt>
                <c:pt idx="34">
                  <c:v>166</c:v>
                </c:pt>
                <c:pt idx="35">
                  <c:v>167</c:v>
                </c:pt>
                <c:pt idx="36">
                  <c:v>167</c:v>
                </c:pt>
                <c:pt idx="37">
                  <c:v>170</c:v>
                </c:pt>
                <c:pt idx="38">
                  <c:v>170</c:v>
                </c:pt>
                <c:pt idx="39">
                  <c:v>171</c:v>
                </c:pt>
                <c:pt idx="40">
                  <c:v>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64.07818804838919</c:v>
                </c:pt>
                <c:pt idx="32">
                  <c:v>165.07943027895311</c:v>
                </c:pt>
                <c:pt idx="33">
                  <c:v>166.01368610215056</c:v>
                </c:pt>
                <c:pt idx="34">
                  <c:v>166.88314213988343</c:v>
                </c:pt>
                <c:pt idx="35">
                  <c:v>167.69766711150805</c:v>
                </c:pt>
                <c:pt idx="36">
                  <c:v>168.47089931297492</c:v>
                </c:pt>
                <c:pt idx="37">
                  <c:v>169.20801087510409</c:v>
                </c:pt>
                <c:pt idx="38">
                  <c:v>169.90852872122261</c:v>
                </c:pt>
                <c:pt idx="39">
                  <c:v>170.57480706292134</c:v>
                </c:pt>
                <c:pt idx="40">
                  <c:v>171.20486893230628</c:v>
                </c:pt>
                <c:pt idx="41">
                  <c:v>171.80028585013454</c:v>
                </c:pt>
                <c:pt idx="42">
                  <c:v>172.36289274823488</c:v>
                </c:pt>
                <c:pt idx="43">
                  <c:v>172.89489091677075</c:v>
                </c:pt>
                <c:pt idx="44">
                  <c:v>173.40085977322613</c:v>
                </c:pt>
                <c:pt idx="45">
                  <c:v>173.87916895441347</c:v>
                </c:pt>
                <c:pt idx="46">
                  <c:v>174.33349906288666</c:v>
                </c:pt>
                <c:pt idx="47">
                  <c:v>174.76376976584717</c:v>
                </c:pt>
                <c:pt idx="48">
                  <c:v>175.17148354382837</c:v>
                </c:pt>
                <c:pt idx="49">
                  <c:v>175.55936744606728</c:v>
                </c:pt>
                <c:pt idx="50">
                  <c:v>175.92845995422047</c:v>
                </c:pt>
                <c:pt idx="51">
                  <c:v>176.27932016818011</c:v>
                </c:pt>
                <c:pt idx="52">
                  <c:v>176.61316629991387</c:v>
                </c:pt>
                <c:pt idx="53">
                  <c:v>176.93108232500779</c:v>
                </c:pt>
                <c:pt idx="54">
                  <c:v>177.23379193469788</c:v>
                </c:pt>
                <c:pt idx="55">
                  <c:v>177.52255914238444</c:v>
                </c:pt>
                <c:pt idx="56">
                  <c:v>177.79824514333939</c:v>
                </c:pt>
                <c:pt idx="57">
                  <c:v>178.06136211792676</c:v>
                </c:pt>
                <c:pt idx="58">
                  <c:v>178.31246895803861</c:v>
                </c:pt>
                <c:pt idx="59">
                  <c:v>178.55407572162204</c:v>
                </c:pt>
                <c:pt idx="60">
                  <c:v>178.7848706754329</c:v>
                </c:pt>
                <c:pt idx="61">
                  <c:v>179.00583343706685</c:v>
                </c:pt>
                <c:pt idx="62">
                  <c:v>179.21750825297272</c:v>
                </c:pt>
                <c:pt idx="63">
                  <c:v>179.42135855527002</c:v>
                </c:pt>
                <c:pt idx="64">
                  <c:v>179.61675493487127</c:v>
                </c:pt>
                <c:pt idx="65">
                  <c:v>179.80495741590272</c:v>
                </c:pt>
                <c:pt idx="66">
                  <c:v>179.98638430441073</c:v>
                </c:pt>
                <c:pt idx="67">
                  <c:v>180.1624466105402</c:v>
                </c:pt>
                <c:pt idx="68">
                  <c:v>180.33135351590406</c:v>
                </c:pt>
                <c:pt idx="69">
                  <c:v>180.49525209738613</c:v>
                </c:pt>
                <c:pt idx="70">
                  <c:v>180.65355364593836</c:v>
                </c:pt>
                <c:pt idx="71">
                  <c:v>180.8063156375764</c:v>
                </c:pt>
                <c:pt idx="72">
                  <c:v>180.95482880538168</c:v>
                </c:pt>
                <c:pt idx="73">
                  <c:v>181.09829575139929</c:v>
                </c:pt>
                <c:pt idx="74">
                  <c:v>181.23895672547673</c:v>
                </c:pt>
                <c:pt idx="75">
                  <c:v>181.37504614922767</c:v>
                </c:pt>
                <c:pt idx="76">
                  <c:v>181.50752048454598</c:v>
                </c:pt>
                <c:pt idx="77">
                  <c:v>181.63547999476907</c:v>
                </c:pt>
                <c:pt idx="78">
                  <c:v>181.76113066807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ED-473A-9A06-DDBCDB5EAB9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ED-473A-9A06-DDBCDB5EAB9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64.11936062670648</c:v>
                </c:pt>
                <c:pt idx="32">
                  <c:v>165.19097184224165</c:v>
                </c:pt>
                <c:pt idx="33">
                  <c:v>166.21463173622476</c:v>
                </c:pt>
                <c:pt idx="34">
                  <c:v>167.18687237542136</c:v>
                </c:pt>
                <c:pt idx="35">
                  <c:v>168.12137298347338</c:v>
                </c:pt>
                <c:pt idx="36">
                  <c:v>169.03823228503435</c:v>
                </c:pt>
                <c:pt idx="37">
                  <c:v>169.94721792332601</c:v>
                </c:pt>
                <c:pt idx="38">
                  <c:v>170.84704490335128</c:v>
                </c:pt>
                <c:pt idx="39">
                  <c:v>171.73419294046823</c:v>
                </c:pt>
                <c:pt idx="40">
                  <c:v>172.60437788818251</c:v>
                </c:pt>
                <c:pt idx="41">
                  <c:v>173.45707540898124</c:v>
                </c:pt>
                <c:pt idx="42">
                  <c:v>174.29673046641645</c:v>
                </c:pt>
                <c:pt idx="43">
                  <c:v>175.12555003763586</c:v>
                </c:pt>
                <c:pt idx="44">
                  <c:v>175.94544780596485</c:v>
                </c:pt>
                <c:pt idx="45">
                  <c:v>176.75272605768976</c:v>
                </c:pt>
                <c:pt idx="46">
                  <c:v>177.54779741011504</c:v>
                </c:pt>
                <c:pt idx="47">
                  <c:v>178.33054564052225</c:v>
                </c:pt>
                <c:pt idx="48">
                  <c:v>179.10301129015096</c:v>
                </c:pt>
                <c:pt idx="49">
                  <c:v>179.86530286216833</c:v>
                </c:pt>
                <c:pt idx="50">
                  <c:v>180.61750017770535</c:v>
                </c:pt>
                <c:pt idx="51">
                  <c:v>181.36068348352555</c:v>
                </c:pt>
                <c:pt idx="52">
                  <c:v>182.09344459910406</c:v>
                </c:pt>
                <c:pt idx="53">
                  <c:v>182.8159840541953</c:v>
                </c:pt>
                <c:pt idx="54">
                  <c:v>183.52962585834143</c:v>
                </c:pt>
                <c:pt idx="55">
                  <c:v>184.23428515655434</c:v>
                </c:pt>
                <c:pt idx="56">
                  <c:v>184.93030698065249</c:v>
                </c:pt>
                <c:pt idx="57">
                  <c:v>185.61671417667776</c:v>
                </c:pt>
                <c:pt idx="58">
                  <c:v>186.29465340794374</c:v>
                </c:pt>
                <c:pt idx="59">
                  <c:v>186.9642009904702</c:v>
                </c:pt>
                <c:pt idx="60">
                  <c:v>187.62563767266701</c:v>
                </c:pt>
                <c:pt idx="61">
                  <c:v>188.27884251724851</c:v>
                </c:pt>
                <c:pt idx="62">
                  <c:v>188.92395702972118</c:v>
                </c:pt>
                <c:pt idx="63">
                  <c:v>189.56104376882942</c:v>
                </c:pt>
                <c:pt idx="64">
                  <c:v>190.19016574270918</c:v>
                </c:pt>
                <c:pt idx="65">
                  <c:v>190.81253186896728</c:v>
                </c:pt>
                <c:pt idx="66">
                  <c:v>191.42728089936583</c:v>
                </c:pt>
                <c:pt idx="67">
                  <c:v>192.03433649348094</c:v>
                </c:pt>
                <c:pt idx="68">
                  <c:v>192.63487043727017</c:v>
                </c:pt>
                <c:pt idx="69">
                  <c:v>193.22801151342119</c:v>
                </c:pt>
                <c:pt idx="70">
                  <c:v>193.81481309396355</c:v>
                </c:pt>
                <c:pt idx="71">
                  <c:v>194.39438221504199</c:v>
                </c:pt>
                <c:pt idx="72">
                  <c:v>194.9677537493061</c:v>
                </c:pt>
                <c:pt idx="73">
                  <c:v>195.5340048217366</c:v>
                </c:pt>
                <c:pt idx="74">
                  <c:v>196.09416161126853</c:v>
                </c:pt>
                <c:pt idx="75">
                  <c:v>196.64843415763261</c:v>
                </c:pt>
                <c:pt idx="76">
                  <c:v>197.19577366047071</c:v>
                </c:pt>
                <c:pt idx="77">
                  <c:v>197.73831237740379</c:v>
                </c:pt>
                <c:pt idx="78">
                  <c:v>198.274193893942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ED-473A-9A06-DDBCDB5EAB9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64.16053320502306</c:v>
                </c:pt>
                <c:pt idx="32">
                  <c:v>165.30365708826082</c:v>
                </c:pt>
                <c:pt idx="33">
                  <c:v>166.41696022296006</c:v>
                </c:pt>
                <c:pt idx="34">
                  <c:v>167.4909650276249</c:v>
                </c:pt>
                <c:pt idx="35">
                  <c:v>168.54990002279558</c:v>
                </c:pt>
                <c:pt idx="36">
                  <c:v>169.62164916704228</c:v>
                </c:pt>
                <c:pt idx="37">
                  <c:v>170.72233489628641</c:v>
                </c:pt>
                <c:pt idx="38">
                  <c:v>171.85298172111223</c:v>
                </c:pt>
                <c:pt idx="39">
                  <c:v>173.00086950051553</c:v>
                </c:pt>
                <c:pt idx="40">
                  <c:v>174.15954231939028</c:v>
                </c:pt>
                <c:pt idx="41">
                  <c:v>175.33277660937563</c:v>
                </c:pt>
                <c:pt idx="42">
                  <c:v>176.53060281444502</c:v>
                </c:pt>
                <c:pt idx="43">
                  <c:v>177.75769206428953</c:v>
                </c:pt>
                <c:pt idx="44">
                  <c:v>179.01226626112236</c:v>
                </c:pt>
                <c:pt idx="45">
                  <c:v>180.29020306862682</c:v>
                </c:pt>
                <c:pt idx="46">
                  <c:v>181.58958142729597</c:v>
                </c:pt>
                <c:pt idx="47">
                  <c:v>182.91452931727562</c:v>
                </c:pt>
                <c:pt idx="48">
                  <c:v>184.26794758524883</c:v>
                </c:pt>
                <c:pt idx="49">
                  <c:v>185.65035861731673</c:v>
                </c:pt>
                <c:pt idx="50">
                  <c:v>187.06207168201513</c:v>
                </c:pt>
                <c:pt idx="51">
                  <c:v>188.50096808433258</c:v>
                </c:pt>
                <c:pt idx="52">
                  <c:v>189.96628003515841</c:v>
                </c:pt>
                <c:pt idx="53">
                  <c:v>191.46170247304607</c:v>
                </c:pt>
                <c:pt idx="54">
                  <c:v>192.98927894721649</c:v>
                </c:pt>
                <c:pt idx="55">
                  <c:v>194.54810685563933</c:v>
                </c:pt>
                <c:pt idx="56">
                  <c:v>196.13741688382078</c:v>
                </c:pt>
                <c:pt idx="57">
                  <c:v>197.75838668232319</c:v>
                </c:pt>
                <c:pt idx="58">
                  <c:v>199.4115300098762</c:v>
                </c:pt>
                <c:pt idx="59">
                  <c:v>201.09701739223303</c:v>
                </c:pt>
                <c:pt idx="60">
                  <c:v>202.81754533755429</c:v>
                </c:pt>
                <c:pt idx="61">
                  <c:v>204.57130978042625</c:v>
                </c:pt>
                <c:pt idx="62">
                  <c:v>206.36058205389892</c:v>
                </c:pt>
                <c:pt idx="63">
                  <c:v>208.18481723450182</c:v>
                </c:pt>
                <c:pt idx="64">
                  <c:v>210.04527806218448</c:v>
                </c:pt>
                <c:pt idx="65">
                  <c:v>211.94241500176216</c:v>
                </c:pt>
                <c:pt idx="66">
                  <c:v>213.87770784439689</c:v>
                </c:pt>
                <c:pt idx="67">
                  <c:v>215.85054122186781</c:v>
                </c:pt>
                <c:pt idx="68">
                  <c:v>217.86220370025632</c:v>
                </c:pt>
                <c:pt idx="69">
                  <c:v>219.91203005023681</c:v>
                </c:pt>
                <c:pt idx="70">
                  <c:v>222.00238758477423</c:v>
                </c:pt>
                <c:pt idx="71">
                  <c:v>224.13394043856695</c:v>
                </c:pt>
                <c:pt idx="72">
                  <c:v>226.3059190601407</c:v>
                </c:pt>
                <c:pt idx="73">
                  <c:v>228.52070749379504</c:v>
                </c:pt>
                <c:pt idx="74">
                  <c:v>230.77896848472062</c:v>
                </c:pt>
                <c:pt idx="75">
                  <c:v>233.07998072820246</c:v>
                </c:pt>
                <c:pt idx="76">
                  <c:v>235.42503662908686</c:v>
                </c:pt>
                <c:pt idx="77">
                  <c:v>237.81577424115437</c:v>
                </c:pt>
                <c:pt idx="78">
                  <c:v>240.25276585313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ED-473A-9A06-DDBCDB5E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1</c:v>
                </c:pt>
                <c:pt idx="1">
                  <c:v>34</c:v>
                </c:pt>
                <c:pt idx="2">
                  <c:v>57</c:v>
                </c:pt>
                <c:pt idx="3">
                  <c:v>72</c:v>
                </c:pt>
                <c:pt idx="4">
                  <c:v>83</c:v>
                </c:pt>
                <c:pt idx="5">
                  <c:v>97</c:v>
                </c:pt>
                <c:pt idx="6">
                  <c:v>113</c:v>
                </c:pt>
                <c:pt idx="7">
                  <c:v>121</c:v>
                </c:pt>
                <c:pt idx="8">
                  <c:v>126</c:v>
                </c:pt>
                <c:pt idx="9">
                  <c:v>138</c:v>
                </c:pt>
                <c:pt idx="10">
                  <c:v>145</c:v>
                </c:pt>
                <c:pt idx="11">
                  <c:v>150</c:v>
                </c:pt>
                <c:pt idx="12">
                  <c:v>155</c:v>
                </c:pt>
                <c:pt idx="13">
                  <c:v>166</c:v>
                </c:pt>
                <c:pt idx="14">
                  <c:v>172</c:v>
                </c:pt>
                <c:pt idx="15">
                  <c:v>176</c:v>
                </c:pt>
                <c:pt idx="16">
                  <c:v>180</c:v>
                </c:pt>
                <c:pt idx="17">
                  <c:v>190</c:v>
                </c:pt>
                <c:pt idx="18">
                  <c:v>196</c:v>
                </c:pt>
                <c:pt idx="19">
                  <c:v>203</c:v>
                </c:pt>
                <c:pt idx="20">
                  <c:v>209</c:v>
                </c:pt>
                <c:pt idx="21">
                  <c:v>211</c:v>
                </c:pt>
                <c:pt idx="22">
                  <c:v>211</c:v>
                </c:pt>
                <c:pt idx="23">
                  <c:v>215</c:v>
                </c:pt>
                <c:pt idx="24">
                  <c:v>218</c:v>
                </c:pt>
                <c:pt idx="25">
                  <c:v>219</c:v>
                </c:pt>
                <c:pt idx="26">
                  <c:v>219</c:v>
                </c:pt>
                <c:pt idx="27">
                  <c:v>219</c:v>
                </c:pt>
                <c:pt idx="28">
                  <c:v>222</c:v>
                </c:pt>
                <c:pt idx="29">
                  <c:v>225</c:v>
                </c:pt>
                <c:pt idx="30">
                  <c:v>227</c:v>
                </c:pt>
                <c:pt idx="31">
                  <c:v>230</c:v>
                </c:pt>
                <c:pt idx="32">
                  <c:v>232</c:v>
                </c:pt>
                <c:pt idx="33">
                  <c:v>232</c:v>
                </c:pt>
                <c:pt idx="34">
                  <c:v>236</c:v>
                </c:pt>
                <c:pt idx="35">
                  <c:v>237</c:v>
                </c:pt>
                <c:pt idx="36">
                  <c:v>239</c:v>
                </c:pt>
                <c:pt idx="37">
                  <c:v>239</c:v>
                </c:pt>
                <c:pt idx="38">
                  <c:v>244</c:v>
                </c:pt>
                <c:pt idx="39">
                  <c:v>244</c:v>
                </c:pt>
                <c:pt idx="40">
                  <c:v>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28.35579776452749</c:v>
                </c:pt>
                <c:pt idx="32">
                  <c:v>229.61030870815608</c:v>
                </c:pt>
                <c:pt idx="33">
                  <c:v>230.78266170937152</c:v>
                </c:pt>
                <c:pt idx="34">
                  <c:v>231.87451704155296</c:v>
                </c:pt>
                <c:pt idx="35">
                  <c:v>232.89623147233709</c:v>
                </c:pt>
                <c:pt idx="36">
                  <c:v>233.86532707356361</c:v>
                </c:pt>
                <c:pt idx="37">
                  <c:v>234.78701484038422</c:v>
                </c:pt>
                <c:pt idx="38">
                  <c:v>235.66192049617462</c:v>
                </c:pt>
                <c:pt idx="39">
                  <c:v>236.49286638854602</c:v>
                </c:pt>
                <c:pt idx="40">
                  <c:v>237.27840946226564</c:v>
                </c:pt>
                <c:pt idx="41">
                  <c:v>238.0210757075597</c:v>
                </c:pt>
                <c:pt idx="42">
                  <c:v>238.72274768919874</c:v>
                </c:pt>
                <c:pt idx="43">
                  <c:v>239.38613157424479</c:v>
                </c:pt>
                <c:pt idx="44">
                  <c:v>240.01700863532173</c:v>
                </c:pt>
                <c:pt idx="45">
                  <c:v>240.61343118515035</c:v>
                </c:pt>
                <c:pt idx="46">
                  <c:v>241.17999993305739</c:v>
                </c:pt>
                <c:pt idx="47">
                  <c:v>241.71669848342563</c:v>
                </c:pt>
                <c:pt idx="48">
                  <c:v>242.22532690947574</c:v>
                </c:pt>
                <c:pt idx="49">
                  <c:v>242.70951276688882</c:v>
                </c:pt>
                <c:pt idx="50">
                  <c:v>243.17026366295255</c:v>
                </c:pt>
                <c:pt idx="51">
                  <c:v>243.60814315235169</c:v>
                </c:pt>
                <c:pt idx="52">
                  <c:v>244.02493781653709</c:v>
                </c:pt>
                <c:pt idx="53">
                  <c:v>244.42194445017859</c:v>
                </c:pt>
                <c:pt idx="54">
                  <c:v>244.79995502264015</c:v>
                </c:pt>
                <c:pt idx="55">
                  <c:v>245.1607472466456</c:v>
                </c:pt>
                <c:pt idx="56">
                  <c:v>245.50528834912686</c:v>
                </c:pt>
                <c:pt idx="57">
                  <c:v>245.83414132693872</c:v>
                </c:pt>
                <c:pt idx="58">
                  <c:v>246.14793431451491</c:v>
                </c:pt>
                <c:pt idx="59">
                  <c:v>246.45014348059689</c:v>
                </c:pt>
                <c:pt idx="60">
                  <c:v>246.73879924021807</c:v>
                </c:pt>
                <c:pt idx="61">
                  <c:v>247.01521992431896</c:v>
                </c:pt>
                <c:pt idx="62">
                  <c:v>247.28006349937772</c:v>
                </c:pt>
                <c:pt idx="63">
                  <c:v>247.53525416442585</c:v>
                </c:pt>
                <c:pt idx="64">
                  <c:v>247.77987242037651</c:v>
                </c:pt>
                <c:pt idx="65">
                  <c:v>248.01557151128713</c:v>
                </c:pt>
                <c:pt idx="66">
                  <c:v>248.24287452075617</c:v>
                </c:pt>
                <c:pt idx="67">
                  <c:v>248.46364928397441</c:v>
                </c:pt>
                <c:pt idx="68">
                  <c:v>248.67540821840413</c:v>
                </c:pt>
                <c:pt idx="69">
                  <c:v>248.88101531606969</c:v>
                </c:pt>
                <c:pt idx="70">
                  <c:v>249.0796361826979</c:v>
                </c:pt>
                <c:pt idx="71">
                  <c:v>249.27129460241406</c:v>
                </c:pt>
                <c:pt idx="72">
                  <c:v>249.45770975267149</c:v>
                </c:pt>
                <c:pt idx="73">
                  <c:v>249.63777467606781</c:v>
                </c:pt>
                <c:pt idx="74">
                  <c:v>249.81449748447235</c:v>
                </c:pt>
                <c:pt idx="75">
                  <c:v>249.98546520379017</c:v>
                </c:pt>
                <c:pt idx="76">
                  <c:v>250.15193718821183</c:v>
                </c:pt>
                <c:pt idx="77">
                  <c:v>250.31267652408818</c:v>
                </c:pt>
                <c:pt idx="78">
                  <c:v>250.470655939738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EF4-464E-973B-59BA91C4EC77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EF4-464E-973B-59BA91C4EC77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28.41175662902288</c:v>
                </c:pt>
                <c:pt idx="32">
                  <c:v>229.76185168315081</c:v>
                </c:pt>
                <c:pt idx="33">
                  <c:v>231.05504099463838</c:v>
                </c:pt>
                <c:pt idx="34">
                  <c:v>232.28491482059798</c:v>
                </c:pt>
                <c:pt idx="35">
                  <c:v>233.46659747983193</c:v>
                </c:pt>
                <c:pt idx="36">
                  <c:v>234.62590949697432</c:v>
                </c:pt>
                <c:pt idx="37">
                  <c:v>235.77396653281923</c:v>
                </c:pt>
                <c:pt idx="38">
                  <c:v>236.91004533777175</c:v>
                </c:pt>
                <c:pt idx="39">
                  <c:v>238.0289548407556</c:v>
                </c:pt>
                <c:pt idx="40">
                  <c:v>239.12617486237949</c:v>
                </c:pt>
                <c:pt idx="41">
                  <c:v>240.20153796119342</c:v>
                </c:pt>
                <c:pt idx="42">
                  <c:v>241.26060382481123</c:v>
                </c:pt>
                <c:pt idx="43">
                  <c:v>242.30617333688446</c:v>
                </c:pt>
                <c:pt idx="44">
                  <c:v>243.34049782610796</c:v>
                </c:pt>
                <c:pt idx="45">
                  <c:v>244.35893966130257</c:v>
                </c:pt>
                <c:pt idx="46">
                  <c:v>245.36182455250233</c:v>
                </c:pt>
                <c:pt idx="47">
                  <c:v>246.34921710714585</c:v>
                </c:pt>
                <c:pt idx="48">
                  <c:v>247.32380677793171</c:v>
                </c:pt>
                <c:pt idx="49">
                  <c:v>248.28576354843315</c:v>
                </c:pt>
                <c:pt idx="50">
                  <c:v>249.23489736089545</c:v>
                </c:pt>
                <c:pt idx="51">
                  <c:v>250.1726070818323</c:v>
                </c:pt>
                <c:pt idx="52">
                  <c:v>251.09722218079247</c:v>
                </c:pt>
                <c:pt idx="53">
                  <c:v>252.00893507571459</c:v>
                </c:pt>
                <c:pt idx="54">
                  <c:v>252.90946310614322</c:v>
                </c:pt>
                <c:pt idx="55">
                  <c:v>253.79882617830248</c:v>
                </c:pt>
                <c:pt idx="56">
                  <c:v>254.6773540435141</c:v>
                </c:pt>
                <c:pt idx="57">
                  <c:v>255.54365320357132</c:v>
                </c:pt>
                <c:pt idx="58">
                  <c:v>256.39921224377616</c:v>
                </c:pt>
                <c:pt idx="59">
                  <c:v>257.2442642424304</c:v>
                </c:pt>
                <c:pt idx="60">
                  <c:v>258.07906424644744</c:v>
                </c:pt>
                <c:pt idx="61">
                  <c:v>258.90350685953723</c:v>
                </c:pt>
                <c:pt idx="62">
                  <c:v>259.71775091994584</c:v>
                </c:pt>
                <c:pt idx="63">
                  <c:v>260.52186438018509</c:v>
                </c:pt>
                <c:pt idx="64">
                  <c:v>261.31592001372621</c:v>
                </c:pt>
                <c:pt idx="65">
                  <c:v>262.10154871794924</c:v>
                </c:pt>
                <c:pt idx="66">
                  <c:v>262.87756793886041</c:v>
                </c:pt>
                <c:pt idx="67">
                  <c:v>263.6438509830628</c:v>
                </c:pt>
                <c:pt idx="68">
                  <c:v>264.40198065584508</c:v>
                </c:pt>
                <c:pt idx="69">
                  <c:v>265.15076165847131</c:v>
                </c:pt>
                <c:pt idx="70">
                  <c:v>265.89159912051144</c:v>
                </c:pt>
                <c:pt idx="71">
                  <c:v>266.62327412100063</c:v>
                </c:pt>
                <c:pt idx="72">
                  <c:v>267.34717182116964</c:v>
                </c:pt>
                <c:pt idx="73">
                  <c:v>268.06203350936744</c:v>
                </c:pt>
                <c:pt idx="74">
                  <c:v>268.76923795908289</c:v>
                </c:pt>
                <c:pt idx="75">
                  <c:v>269.46906649053051</c:v>
                </c:pt>
                <c:pt idx="76">
                  <c:v>270.16008172961455</c:v>
                </c:pt>
                <c:pt idx="77">
                  <c:v>270.84516629545942</c:v>
                </c:pt>
                <c:pt idx="78">
                  <c:v>271.521800038989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EF4-464E-973B-59BA91C4EC7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28.4677154935172</c:v>
                </c:pt>
                <c:pt idx="32">
                  <c:v>229.91494907104743</c:v>
                </c:pt>
                <c:pt idx="33">
                  <c:v>231.32929818763407</c:v>
                </c:pt>
                <c:pt idx="34">
                  <c:v>232.69578719382355</c:v>
                </c:pt>
                <c:pt idx="35">
                  <c:v>234.0434803852369</c:v>
                </c:pt>
                <c:pt idx="36">
                  <c:v>235.40830109008834</c:v>
                </c:pt>
                <c:pt idx="37">
                  <c:v>236.80957999515624</c:v>
                </c:pt>
                <c:pt idx="38">
                  <c:v>238.24940264769464</c:v>
                </c:pt>
                <c:pt idx="39">
                  <c:v>239.70990822147434</c:v>
                </c:pt>
                <c:pt idx="40">
                  <c:v>241.18347834936927</c:v>
                </c:pt>
                <c:pt idx="41">
                  <c:v>242.67577818746173</c:v>
                </c:pt>
                <c:pt idx="42">
                  <c:v>244.19990787042087</c:v>
                </c:pt>
                <c:pt idx="43">
                  <c:v>245.76189042114368</c:v>
                </c:pt>
                <c:pt idx="44">
                  <c:v>247.35887254299527</c:v>
                </c:pt>
                <c:pt idx="45">
                  <c:v>248.98558747796093</c:v>
                </c:pt>
                <c:pt idx="46">
                  <c:v>250.63920515820064</c:v>
                </c:pt>
                <c:pt idx="47">
                  <c:v>252.32551306604748</c:v>
                </c:pt>
                <c:pt idx="48">
                  <c:v>254.04835678269197</c:v>
                </c:pt>
                <c:pt idx="49">
                  <c:v>255.80838938813318</c:v>
                </c:pt>
                <c:pt idx="50">
                  <c:v>257.60568420168761</c:v>
                </c:pt>
                <c:pt idx="51">
                  <c:v>259.43726464926544</c:v>
                </c:pt>
                <c:pt idx="52">
                  <c:v>261.30229698593337</c:v>
                </c:pt>
                <c:pt idx="53">
                  <c:v>263.20573333072042</c:v>
                </c:pt>
                <c:pt idx="54">
                  <c:v>265.15025214010439</c:v>
                </c:pt>
                <c:pt idx="55">
                  <c:v>267.13470766266801</c:v>
                </c:pt>
                <c:pt idx="56">
                  <c:v>269.15788788229651</c:v>
                </c:pt>
                <c:pt idx="57">
                  <c:v>271.22130122930969</c:v>
                </c:pt>
                <c:pt idx="58">
                  <c:v>273.32555361968161</c:v>
                </c:pt>
                <c:pt idx="59">
                  <c:v>275.47094379544859</c:v>
                </c:pt>
                <c:pt idx="60">
                  <c:v>277.66098504048148</c:v>
                </c:pt>
                <c:pt idx="61">
                  <c:v>279.89324876194866</c:v>
                </c:pt>
                <c:pt idx="62">
                  <c:v>282.17073469071147</c:v>
                </c:pt>
                <c:pt idx="63">
                  <c:v>284.49266700390717</c:v>
                </c:pt>
                <c:pt idx="64">
                  <c:v>286.86070240843441</c:v>
                </c:pt>
                <c:pt idx="65">
                  <c:v>289.27540101207393</c:v>
                </c:pt>
                <c:pt idx="66">
                  <c:v>291.73871500212607</c:v>
                </c:pt>
                <c:pt idx="67">
                  <c:v>294.24974525050499</c:v>
                </c:pt>
                <c:pt idx="68">
                  <c:v>296.81017643736493</c:v>
                </c:pt>
                <c:pt idx="69">
                  <c:v>299.41904397130367</c:v>
                </c:pt>
                <c:pt idx="70">
                  <c:v>302.07950422036146</c:v>
                </c:pt>
                <c:pt idx="71">
                  <c:v>304.79241128674823</c:v>
                </c:pt>
                <c:pt idx="72">
                  <c:v>307.55665456339534</c:v>
                </c:pt>
                <c:pt idx="73">
                  <c:v>310.37541389082008</c:v>
                </c:pt>
                <c:pt idx="74">
                  <c:v>313.2495455818738</c:v>
                </c:pt>
                <c:pt idx="75">
                  <c:v>316.17798990754238</c:v>
                </c:pt>
                <c:pt idx="76">
                  <c:v>319.16243275118831</c:v>
                </c:pt>
                <c:pt idx="77">
                  <c:v>322.20504250659911</c:v>
                </c:pt>
                <c:pt idx="78">
                  <c:v>325.306520611836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EF4-464E-973B-59BA91C4EC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80</c:v>
                </c:pt>
                <c:pt idx="1">
                  <c:v>279</c:v>
                </c:pt>
                <c:pt idx="2">
                  <c:v>279</c:v>
                </c:pt>
                <c:pt idx="3">
                  <c:v>262</c:v>
                </c:pt>
                <c:pt idx="4">
                  <c:v>239</c:v>
                </c:pt>
                <c:pt idx="5">
                  <c:v>218</c:v>
                </c:pt>
                <c:pt idx="6">
                  <c:v>214</c:v>
                </c:pt>
                <c:pt idx="7">
                  <c:v>192</c:v>
                </c:pt>
                <c:pt idx="8">
                  <c:v>182</c:v>
                </c:pt>
                <c:pt idx="9">
                  <c:v>197</c:v>
                </c:pt>
                <c:pt idx="10">
                  <c:v>190</c:v>
                </c:pt>
                <c:pt idx="11">
                  <c:v>180</c:v>
                </c:pt>
                <c:pt idx="12">
                  <c:v>175</c:v>
                </c:pt>
                <c:pt idx="13">
                  <c:v>165</c:v>
                </c:pt>
                <c:pt idx="14">
                  <c:v>142</c:v>
                </c:pt>
                <c:pt idx="15">
                  <c:v>130</c:v>
                </c:pt>
                <c:pt idx="16">
                  <c:v>131</c:v>
                </c:pt>
                <c:pt idx="17">
                  <c:v>127</c:v>
                </c:pt>
                <c:pt idx="18">
                  <c:v>115</c:v>
                </c:pt>
                <c:pt idx="19">
                  <c:v>103</c:v>
                </c:pt>
                <c:pt idx="20">
                  <c:v>93</c:v>
                </c:pt>
                <c:pt idx="21">
                  <c:v>82</c:v>
                </c:pt>
                <c:pt idx="22">
                  <c:v>79</c:v>
                </c:pt>
                <c:pt idx="23">
                  <c:v>87</c:v>
                </c:pt>
                <c:pt idx="24">
                  <c:v>69</c:v>
                </c:pt>
                <c:pt idx="25">
                  <c:v>63</c:v>
                </c:pt>
                <c:pt idx="26">
                  <c:v>59</c:v>
                </c:pt>
                <c:pt idx="27">
                  <c:v>55</c:v>
                </c:pt>
                <c:pt idx="28">
                  <c:v>35</c:v>
                </c:pt>
                <c:pt idx="29">
                  <c:v>35</c:v>
                </c:pt>
                <c:pt idx="30">
                  <c:v>38</c:v>
                </c:pt>
                <c:pt idx="31">
                  <c:v>41</c:v>
                </c:pt>
                <c:pt idx="32">
                  <c:v>38</c:v>
                </c:pt>
                <c:pt idx="33">
                  <c:v>37</c:v>
                </c:pt>
                <c:pt idx="34">
                  <c:v>36</c:v>
                </c:pt>
                <c:pt idx="35">
                  <c:v>33</c:v>
                </c:pt>
                <c:pt idx="36">
                  <c:v>32</c:v>
                </c:pt>
                <c:pt idx="37">
                  <c:v>32</c:v>
                </c:pt>
                <c:pt idx="38">
                  <c:v>32</c:v>
                </c:pt>
                <c:pt idx="39">
                  <c:v>28</c:v>
                </c:pt>
                <c:pt idx="40">
                  <c:v>28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9.064793512085316</c:v>
                </c:pt>
                <c:pt idx="32">
                  <c:v>36.120927299562922</c:v>
                </c:pt>
                <c:pt idx="33">
                  <c:v>33.387062231551816</c:v>
                </c:pt>
                <c:pt idx="34">
                  <c:v>30.812680091191602</c:v>
                </c:pt>
                <c:pt idx="35">
                  <c:v>28.425151065553159</c:v>
                </c:pt>
                <c:pt idx="36">
                  <c:v>26.287594175287047</c:v>
                </c:pt>
                <c:pt idx="37">
                  <c:v>24.300046174276943</c:v>
                </c:pt>
                <c:pt idx="38">
                  <c:v>22.37758578165603</c:v>
                </c:pt>
                <c:pt idx="39">
                  <c:v>20.568773501738228</c:v>
                </c:pt>
                <c:pt idx="40">
                  <c:v>18.882022969057743</c:v>
                </c:pt>
                <c:pt idx="41">
                  <c:v>17.305131467372462</c:v>
                </c:pt>
                <c:pt idx="42">
                  <c:v>15.875512252124222</c:v>
                </c:pt>
                <c:pt idx="43">
                  <c:v>14.58176004736147</c:v>
                </c:pt>
                <c:pt idx="44">
                  <c:v>13.355459133865832</c:v>
                </c:pt>
                <c:pt idx="45">
                  <c:v>12.171345933218515</c:v>
                </c:pt>
                <c:pt idx="46">
                  <c:v>11.064903376618338</c:v>
                </c:pt>
                <c:pt idx="47">
                  <c:v>10.03828518831156</c:v>
                </c:pt>
                <c:pt idx="48">
                  <c:v>9.0815527031040517</c:v>
                </c:pt>
                <c:pt idx="49">
                  <c:v>8.1907197214645961</c:v>
                </c:pt>
                <c:pt idx="50">
                  <c:v>7.3719906446754617</c:v>
                </c:pt>
                <c:pt idx="51">
                  <c:v>6.5931576560411491</c:v>
                </c:pt>
                <c:pt idx="52">
                  <c:v>5.8595912503540548</c:v>
                </c:pt>
                <c:pt idx="53">
                  <c:v>5.1762179449292294</c:v>
                </c:pt>
                <c:pt idx="54">
                  <c:v>4.5356719514550585</c:v>
                </c:pt>
                <c:pt idx="55">
                  <c:v>3.9329752128383908</c:v>
                </c:pt>
                <c:pt idx="56">
                  <c:v>3.3694532534972379</c:v>
                </c:pt>
                <c:pt idx="57">
                  <c:v>2.8474308121487653</c:v>
                </c:pt>
                <c:pt idx="58">
                  <c:v>2.3475035885407771</c:v>
                </c:pt>
                <c:pt idx="59">
                  <c:v>1.8874523061119366</c:v>
                </c:pt>
                <c:pt idx="60">
                  <c:v>1.4547782221310417</c:v>
                </c:pt>
                <c:pt idx="61">
                  <c:v>1.0455753345352694</c:v>
                </c:pt>
                <c:pt idx="62">
                  <c:v>0.65821983065532841</c:v>
                </c:pt>
                <c:pt idx="63">
                  <c:v>0.302503664746202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87-4EC0-A4DE-875D2FD11C5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87-4EC0-A4DE-875D2FD11C5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9.156756424981424</c:v>
                </c:pt>
                <c:pt idx="32">
                  <c:v>36.368055510410016</c:v>
                </c:pt>
                <c:pt idx="33">
                  <c:v>33.826232069539586</c:v>
                </c:pt>
                <c:pt idx="34">
                  <c:v>31.464626512553185</c:v>
                </c:pt>
                <c:pt idx="35">
                  <c:v>29.316008001304986</c:v>
                </c:pt>
                <c:pt idx="36">
                  <c:v>27.454608385594291</c:v>
                </c:pt>
                <c:pt idx="37">
                  <c:v>25.787339255064644</c:v>
                </c:pt>
                <c:pt idx="38">
                  <c:v>24.223709081340495</c:v>
                </c:pt>
                <c:pt idx="39">
                  <c:v>22.795057657376738</c:v>
                </c:pt>
                <c:pt idx="40">
                  <c:v>21.50170112560221</c:v>
                </c:pt>
                <c:pt idx="41">
                  <c:v>20.324837882865037</c:v>
                </c:pt>
                <c:pt idx="42">
                  <c:v>19.306059884058001</c:v>
                </c:pt>
                <c:pt idx="43">
                  <c:v>18.43246413322818</c:v>
                </c:pt>
                <c:pt idx="44">
                  <c:v>17.628360001686772</c:v>
                </c:pt>
                <c:pt idx="45">
                  <c:v>16.861940167140805</c:v>
                </c:pt>
                <c:pt idx="46">
                  <c:v>16.159547602390642</c:v>
                </c:pt>
                <c:pt idx="47">
                  <c:v>15.522940185804558</c:v>
                </c:pt>
                <c:pt idx="48">
                  <c:v>14.944855692137882</c:v>
                </c:pt>
                <c:pt idx="49">
                  <c:v>14.416617524355882</c:v>
                </c:pt>
                <c:pt idx="50">
                  <c:v>13.943040355836418</c:v>
                </c:pt>
                <c:pt idx="51">
                  <c:v>13.493765119493947</c:v>
                </c:pt>
                <c:pt idx="52">
                  <c:v>13.068981788209729</c:v>
                </c:pt>
                <c:pt idx="53">
                  <c:v>12.672900430432776</c:v>
                </c:pt>
                <c:pt idx="54">
                  <c:v>12.301620291989876</c:v>
                </c:pt>
                <c:pt idx="55">
                  <c:v>11.949228006945871</c:v>
                </c:pt>
                <c:pt idx="56">
                  <c:v>11.61773086308661</c:v>
                </c:pt>
                <c:pt idx="57">
                  <c:v>11.307699569311119</c:v>
                </c:pt>
                <c:pt idx="58">
                  <c:v>11.002680163523786</c:v>
                </c:pt>
                <c:pt idx="59">
                  <c:v>10.71680990923012</c:v>
                </c:pt>
                <c:pt idx="60">
                  <c:v>10.443109423728814</c:v>
                </c:pt>
                <c:pt idx="61">
                  <c:v>10.177204598013095</c:v>
                </c:pt>
                <c:pt idx="62">
                  <c:v>9.9182782201108957</c:v>
                </c:pt>
                <c:pt idx="63">
                  <c:v>9.6745196430929106</c:v>
                </c:pt>
                <c:pt idx="64">
                  <c:v>9.4400549799513698</c:v>
                </c:pt>
                <c:pt idx="65">
                  <c:v>9.2094677981184638</c:v>
                </c:pt>
                <c:pt idx="66">
                  <c:v>8.9871146853725143</c:v>
                </c:pt>
                <c:pt idx="67">
                  <c:v>8.7713611004248762</c:v>
                </c:pt>
                <c:pt idx="68">
                  <c:v>8.5635473532862569</c:v>
                </c:pt>
                <c:pt idx="69">
                  <c:v>8.360958803695782</c:v>
                </c:pt>
                <c:pt idx="70">
                  <c:v>8.1661703512249346</c:v>
                </c:pt>
                <c:pt idx="71">
                  <c:v>7.9764477865740737</c:v>
                </c:pt>
                <c:pt idx="72">
                  <c:v>7.7887073044570716</c:v>
                </c:pt>
                <c:pt idx="73">
                  <c:v>7.6064788182233283</c:v>
                </c:pt>
                <c:pt idx="74">
                  <c:v>7.4309054847485037</c:v>
                </c:pt>
                <c:pt idx="75">
                  <c:v>7.2593986678081022</c:v>
                </c:pt>
                <c:pt idx="76">
                  <c:v>7.0881717339069841</c:v>
                </c:pt>
                <c:pt idx="77">
                  <c:v>6.9269275573243183</c:v>
                </c:pt>
                <c:pt idx="78">
                  <c:v>6.766967271997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87-4EC0-A4DE-875D2FD11C5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9.248719337877532</c:v>
                </c:pt>
                <c:pt idx="32">
                  <c:v>36.617738246615332</c:v>
                </c:pt>
                <c:pt idx="33">
                  <c:v>34.268434792013551</c:v>
                </c:pt>
                <c:pt idx="34">
                  <c:v>32.117197824616682</c:v>
                </c:pt>
                <c:pt idx="35">
                  <c:v>30.217328849350249</c:v>
                </c:pt>
                <c:pt idx="36">
                  <c:v>28.656933947070044</c:v>
                </c:pt>
                <c:pt idx="37">
                  <c:v>27.353128711127862</c:v>
                </c:pt>
                <c:pt idx="38">
                  <c:v>26.215941782168233</c:v>
                </c:pt>
                <c:pt idx="39">
                  <c:v>25.250797332367334</c:v>
                </c:pt>
                <c:pt idx="40">
                  <c:v>24.448750416000749</c:v>
                </c:pt>
                <c:pt idx="41">
                  <c:v>23.79727726458988</c:v>
                </c:pt>
                <c:pt idx="42">
                  <c:v>23.347028369844729</c:v>
                </c:pt>
                <c:pt idx="43">
                  <c:v>23.086774916075662</c:v>
                </c:pt>
                <c:pt idx="44">
                  <c:v>22.928710679155284</c:v>
                </c:pt>
                <c:pt idx="45">
                  <c:v>22.835533679226359</c:v>
                </c:pt>
                <c:pt idx="46">
                  <c:v>22.823778520253981</c:v>
                </c:pt>
                <c:pt idx="47">
                  <c:v>22.901651448231469</c:v>
                </c:pt>
                <c:pt idx="48">
                  <c:v>23.062401194166604</c:v>
                </c:pt>
                <c:pt idx="49">
                  <c:v>23.296155701542059</c:v>
                </c:pt>
                <c:pt idx="50">
                  <c:v>23.60540951432089</c:v>
                </c:pt>
                <c:pt idx="51">
                  <c:v>23.949731394956203</c:v>
                </c:pt>
                <c:pt idx="52">
                  <c:v>24.328153057212916</c:v>
                </c:pt>
                <c:pt idx="53">
                  <c:v>24.75090115921985</c:v>
                </c:pt>
                <c:pt idx="54">
                  <c:v>25.214761215245154</c:v>
                </c:pt>
                <c:pt idx="55">
                  <c:v>25.710869293745745</c:v>
                </c:pt>
                <c:pt idx="56">
                  <c:v>26.237177240936067</c:v>
                </c:pt>
                <c:pt idx="57">
                  <c:v>26.797313706417476</c:v>
                </c:pt>
                <c:pt idx="58">
                  <c:v>27.371985469555035</c:v>
                </c:pt>
                <c:pt idx="59">
                  <c:v>27.974513078280179</c:v>
                </c:pt>
                <c:pt idx="60">
                  <c:v>28.602493702675766</c:v>
                </c:pt>
                <c:pt idx="61">
                  <c:v>29.246861637672346</c:v>
                </c:pt>
                <c:pt idx="62">
                  <c:v>29.910455381889761</c:v>
                </c:pt>
                <c:pt idx="63">
                  <c:v>30.5989096967648</c:v>
                </c:pt>
                <c:pt idx="64">
                  <c:v>31.307951202463791</c:v>
                </c:pt>
                <c:pt idx="65">
                  <c:v>32.029580335536636</c:v>
                </c:pt>
                <c:pt idx="66">
                  <c:v>32.772587196913207</c:v>
                </c:pt>
                <c:pt idx="67">
                  <c:v>33.533116533876367</c:v>
                </c:pt>
                <c:pt idx="68">
                  <c:v>34.311548248788469</c:v>
                </c:pt>
                <c:pt idx="69">
                  <c:v>35.104535563098473</c:v>
                </c:pt>
                <c:pt idx="70">
                  <c:v>35.916683791045372</c:v>
                </c:pt>
                <c:pt idx="71">
                  <c:v>36.747773684802908</c:v>
                </c:pt>
                <c:pt idx="72">
                  <c:v>37.589655153306381</c:v>
                </c:pt>
                <c:pt idx="73">
                  <c:v>38.452219725832052</c:v>
                </c:pt>
                <c:pt idx="74">
                  <c:v>39.334652491130356</c:v>
                </c:pt>
                <c:pt idx="75">
                  <c:v>40.231077987556574</c:v>
                </c:pt>
                <c:pt idx="76">
                  <c:v>41.141813628618813</c:v>
                </c:pt>
                <c:pt idx="77">
                  <c:v>42.074372793093161</c:v>
                </c:pt>
                <c:pt idx="78">
                  <c:v>43.024235477978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987-4EC0-A4DE-875D2FD11C5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87-4EC0-A4DE-875D2FD11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18</c:v>
                </c:pt>
                <c:pt idx="2">
                  <c:v>28</c:v>
                </c:pt>
                <c:pt idx="3">
                  <c:v>43</c:v>
                </c:pt>
                <c:pt idx="4">
                  <c:v>46</c:v>
                </c:pt>
                <c:pt idx="5">
                  <c:v>53</c:v>
                </c:pt>
                <c:pt idx="6">
                  <c:v>56</c:v>
                </c:pt>
                <c:pt idx="7">
                  <c:v>56</c:v>
                </c:pt>
                <c:pt idx="8">
                  <c:v>60</c:v>
                </c:pt>
                <c:pt idx="9">
                  <c:v>68</c:v>
                </c:pt>
                <c:pt idx="10">
                  <c:v>72</c:v>
                </c:pt>
                <c:pt idx="11">
                  <c:v>75</c:v>
                </c:pt>
                <c:pt idx="12">
                  <c:v>77</c:v>
                </c:pt>
                <c:pt idx="13">
                  <c:v>81</c:v>
                </c:pt>
                <c:pt idx="14">
                  <c:v>83</c:v>
                </c:pt>
                <c:pt idx="15">
                  <c:v>85</c:v>
                </c:pt>
                <c:pt idx="16">
                  <c:v>89</c:v>
                </c:pt>
                <c:pt idx="17">
                  <c:v>91</c:v>
                </c:pt>
                <c:pt idx="18">
                  <c:v>94</c:v>
                </c:pt>
                <c:pt idx="19">
                  <c:v>96</c:v>
                </c:pt>
                <c:pt idx="20">
                  <c:v>97</c:v>
                </c:pt>
                <c:pt idx="21">
                  <c:v>98</c:v>
                </c:pt>
                <c:pt idx="22">
                  <c:v>98</c:v>
                </c:pt>
                <c:pt idx="23">
                  <c:v>101</c:v>
                </c:pt>
                <c:pt idx="24">
                  <c:v>102</c:v>
                </c:pt>
                <c:pt idx="25">
                  <c:v>104</c:v>
                </c:pt>
                <c:pt idx="26">
                  <c:v>107</c:v>
                </c:pt>
                <c:pt idx="27">
                  <c:v>109</c:v>
                </c:pt>
                <c:pt idx="28">
                  <c:v>109</c:v>
                </c:pt>
                <c:pt idx="29">
                  <c:v>110</c:v>
                </c:pt>
                <c:pt idx="30">
                  <c:v>111</c:v>
                </c:pt>
                <c:pt idx="31">
                  <c:v>112</c:v>
                </c:pt>
                <c:pt idx="32">
                  <c:v>113</c:v>
                </c:pt>
                <c:pt idx="33">
                  <c:v>113</c:v>
                </c:pt>
                <c:pt idx="34">
                  <c:v>113</c:v>
                </c:pt>
                <c:pt idx="35">
                  <c:v>114</c:v>
                </c:pt>
                <c:pt idx="36">
                  <c:v>114</c:v>
                </c:pt>
                <c:pt idx="37">
                  <c:v>114</c:v>
                </c:pt>
                <c:pt idx="38">
                  <c:v>114</c:v>
                </c:pt>
                <c:pt idx="39">
                  <c:v>115</c:v>
                </c:pt>
                <c:pt idx="40">
                  <c:v>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12.06478753470169</c:v>
                </c:pt>
                <c:pt idx="32">
                  <c:v>113.04677369581323</c:v>
                </c:pt>
                <c:pt idx="33">
                  <c:v>113.96572832451098</c:v>
                </c:pt>
                <c:pt idx="34">
                  <c:v>114.82217246096431</c:v>
                </c:pt>
                <c:pt idx="35">
                  <c:v>115.62276453579588</c:v>
                </c:pt>
                <c:pt idx="36">
                  <c:v>116.38153315365041</c:v>
                </c:pt>
                <c:pt idx="37">
                  <c:v>117.10164170586904</c:v>
                </c:pt>
                <c:pt idx="38">
                  <c:v>117.78445880396035</c:v>
                </c:pt>
                <c:pt idx="39">
                  <c:v>118.43210181323099</c:v>
                </c:pt>
                <c:pt idx="40">
                  <c:v>119.04418692978246</c:v>
                </c:pt>
                <c:pt idx="41">
                  <c:v>119.62309310490801</c:v>
                </c:pt>
                <c:pt idx="42">
                  <c:v>120.16999352732419</c:v>
                </c:pt>
                <c:pt idx="43">
                  <c:v>120.68696901914194</c:v>
                </c:pt>
                <c:pt idx="44">
                  <c:v>121.17857630653315</c:v>
                </c:pt>
                <c:pt idx="45">
                  <c:v>121.64335938868554</c:v>
                </c:pt>
                <c:pt idx="46">
                  <c:v>122.08491166110686</c:v>
                </c:pt>
                <c:pt idx="47">
                  <c:v>122.50328106067072</c:v>
                </c:pt>
                <c:pt idx="48">
                  <c:v>122.89981714125746</c:v>
                </c:pt>
                <c:pt idx="49">
                  <c:v>123.2775113811219</c:v>
                </c:pt>
                <c:pt idx="50">
                  <c:v>123.63694076719166</c:v>
                </c:pt>
                <c:pt idx="51">
                  <c:v>123.9784476389537</c:v>
                </c:pt>
                <c:pt idx="52">
                  <c:v>124.30361814966894</c:v>
                </c:pt>
                <c:pt idx="53">
                  <c:v>124.6134231153097</c:v>
                </c:pt>
                <c:pt idx="54">
                  <c:v>124.90839967412349</c:v>
                </c:pt>
                <c:pt idx="55">
                  <c:v>125.19007925031218</c:v>
                </c:pt>
                <c:pt idx="56">
                  <c:v>125.45913831048442</c:v>
                </c:pt>
                <c:pt idx="57">
                  <c:v>125.71596075593712</c:v>
                </c:pt>
                <c:pt idx="58">
                  <c:v>125.96098624289687</c:v>
                </c:pt>
                <c:pt idx="59">
                  <c:v>126.19717465496963</c:v>
                </c:pt>
                <c:pt idx="60">
                  <c:v>126.42274911366876</c:v>
                </c:pt>
                <c:pt idx="61">
                  <c:v>126.6388071332556</c:v>
                </c:pt>
                <c:pt idx="62">
                  <c:v>126.84584647270189</c:v>
                </c:pt>
                <c:pt idx="63">
                  <c:v>127.0454386604334</c:v>
                </c:pt>
                <c:pt idx="64">
                  <c:v>127.23676954985599</c:v>
                </c:pt>
                <c:pt idx="65">
                  <c:v>127.42118696777341</c:v>
                </c:pt>
                <c:pt idx="66">
                  <c:v>127.59909961888491</c:v>
                </c:pt>
                <c:pt idx="67">
                  <c:v>127.77204163298539</c:v>
                </c:pt>
                <c:pt idx="68">
                  <c:v>127.93789000191124</c:v>
                </c:pt>
                <c:pt idx="69">
                  <c:v>128.09901191064031</c:v>
                </c:pt>
                <c:pt idx="70">
                  <c:v>128.25468443101869</c:v>
                </c:pt>
                <c:pt idx="71">
                  <c:v>128.4048913940714</c:v>
                </c:pt>
                <c:pt idx="72">
                  <c:v>128.55105203984485</c:v>
                </c:pt>
                <c:pt idx="73">
                  <c:v>128.69222209219544</c:v>
                </c:pt>
                <c:pt idx="74">
                  <c:v>128.83090129455411</c:v>
                </c:pt>
                <c:pt idx="75">
                  <c:v>128.96505604163116</c:v>
                </c:pt>
                <c:pt idx="76">
                  <c:v>129.09571607151705</c:v>
                </c:pt>
                <c:pt idx="77">
                  <c:v>129.22183413485658</c:v>
                </c:pt>
                <c:pt idx="78">
                  <c:v>129.345887719753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8EF-466C-83A6-686C0F8BA37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8EF-466C-83A6-686C0F8BA37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12.11174306349709</c:v>
                </c:pt>
                <c:pt idx="32">
                  <c:v>113.17389707853975</c:v>
                </c:pt>
                <c:pt idx="33">
                  <c:v>114.19379734266712</c:v>
                </c:pt>
                <c:pt idx="34">
                  <c:v>115.16493746314296</c:v>
                </c:pt>
                <c:pt idx="35">
                  <c:v>116.09770280723436</c:v>
                </c:pt>
                <c:pt idx="36">
                  <c:v>117.01276472261732</c:v>
                </c:pt>
                <c:pt idx="37">
                  <c:v>117.91801436664377</c:v>
                </c:pt>
                <c:pt idx="38">
                  <c:v>118.81352520209532</c:v>
                </c:pt>
                <c:pt idx="39">
                  <c:v>119.69467104382724</c:v>
                </c:pt>
                <c:pt idx="40">
                  <c:v>120.55852503210724</c:v>
                </c:pt>
                <c:pt idx="41">
                  <c:v>121.40530917236245</c:v>
                </c:pt>
                <c:pt idx="42">
                  <c:v>122.23936842898182</c:v>
                </c:pt>
                <c:pt idx="43">
                  <c:v>123.06292093976202</c:v>
                </c:pt>
                <c:pt idx="44">
                  <c:v>123.87762335201437</c:v>
                </c:pt>
                <c:pt idx="45">
                  <c:v>124.6798422025059</c:v>
                </c:pt>
                <c:pt idx="46">
                  <c:v>125.46969448443005</c:v>
                </c:pt>
                <c:pt idx="47">
                  <c:v>126.24738239772336</c:v>
                </c:pt>
                <c:pt idx="48">
                  <c:v>127.01510689336601</c:v>
                </c:pt>
                <c:pt idx="49">
                  <c:v>127.77302557541105</c:v>
                </c:pt>
                <c:pt idx="50">
                  <c:v>128.52078046085219</c:v>
                </c:pt>
                <c:pt idx="51">
                  <c:v>129.25949925273193</c:v>
                </c:pt>
                <c:pt idx="52">
                  <c:v>129.9879420130128</c:v>
                </c:pt>
                <c:pt idx="53">
                  <c:v>130.70621692364787</c:v>
                </c:pt>
                <c:pt idx="54">
                  <c:v>131.41571038878007</c:v>
                </c:pt>
                <c:pt idx="55">
                  <c:v>132.11652903038416</c:v>
                </c:pt>
                <c:pt idx="56">
                  <c:v>132.80885699625259</c:v>
                </c:pt>
                <c:pt idx="57">
                  <c:v>133.4914814932211</c:v>
                </c:pt>
                <c:pt idx="58">
                  <c:v>134.16560514244935</c:v>
                </c:pt>
                <c:pt idx="59">
                  <c:v>134.83150953053382</c:v>
                </c:pt>
                <c:pt idx="60">
                  <c:v>135.48932454126768</c:v>
                </c:pt>
                <c:pt idx="61">
                  <c:v>136.13900094731216</c:v>
                </c:pt>
                <c:pt idx="62">
                  <c:v>136.7806497660614</c:v>
                </c:pt>
                <c:pt idx="63">
                  <c:v>137.4143166651404</c:v>
                </c:pt>
                <c:pt idx="64">
                  <c:v>138.04005415684782</c:v>
                </c:pt>
                <c:pt idx="65">
                  <c:v>138.65922264284092</c:v>
                </c:pt>
                <c:pt idx="66">
                  <c:v>139.27082184970982</c:v>
                </c:pt>
                <c:pt idx="67">
                  <c:v>139.87473021717508</c:v>
                </c:pt>
                <c:pt idx="68">
                  <c:v>140.47226937133826</c:v>
                </c:pt>
                <c:pt idx="69">
                  <c:v>141.06242887950478</c:v>
                </c:pt>
                <c:pt idx="70">
                  <c:v>141.64637015091134</c:v>
                </c:pt>
                <c:pt idx="71">
                  <c:v>142.22306687690042</c:v>
                </c:pt>
                <c:pt idx="72">
                  <c:v>142.79366715180836</c:v>
                </c:pt>
                <c:pt idx="73">
                  <c:v>143.35711185174893</c:v>
                </c:pt>
                <c:pt idx="74">
                  <c:v>143.91454732025116</c:v>
                </c:pt>
                <c:pt idx="75">
                  <c:v>144.46620685534504</c:v>
                </c:pt>
                <c:pt idx="76">
                  <c:v>145.01087642023089</c:v>
                </c:pt>
                <c:pt idx="77">
                  <c:v>145.55096460733094</c:v>
                </c:pt>
                <c:pt idx="78">
                  <c:v>146.08435870665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8EF-466C-83A6-686C0F8BA3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12.15869859229154</c:v>
                </c:pt>
                <c:pt idx="32">
                  <c:v>113.30232478150981</c:v>
                </c:pt>
                <c:pt idx="33">
                  <c:v>114.42344108553229</c:v>
                </c:pt>
                <c:pt idx="34">
                  <c:v>115.50808874808965</c:v>
                </c:pt>
                <c:pt idx="35">
                  <c:v>116.57808572734039</c:v>
                </c:pt>
                <c:pt idx="36">
                  <c:v>117.66226266511713</c:v>
                </c:pt>
                <c:pt idx="37">
                  <c:v>118.77512344920086</c:v>
                </c:pt>
                <c:pt idx="38">
                  <c:v>119.91887892761429</c:v>
                </c:pt>
                <c:pt idx="39">
                  <c:v>121.07816127565205</c:v>
                </c:pt>
                <c:pt idx="40">
                  <c:v>122.24734652896031</c:v>
                </c:pt>
                <c:pt idx="41">
                  <c:v>123.43154242467604</c:v>
                </c:pt>
                <c:pt idx="42">
                  <c:v>124.64138730345394</c:v>
                </c:pt>
                <c:pt idx="43">
                  <c:v>125.88171860741032</c:v>
                </c:pt>
                <c:pt idx="44">
                  <c:v>127.1498517941809</c:v>
                </c:pt>
                <c:pt idx="45">
                  <c:v>128.4415909136637</c:v>
                </c:pt>
                <c:pt idx="46">
                  <c:v>129.75441555323656</c:v>
                </c:pt>
                <c:pt idx="47">
                  <c:v>131.09329973878059</c:v>
                </c:pt>
                <c:pt idx="48">
                  <c:v>132.4614058023873</c:v>
                </c:pt>
                <c:pt idx="49">
                  <c:v>133.85924390871827</c:v>
                </c:pt>
                <c:pt idx="50">
                  <c:v>135.28664484752287</c:v>
                </c:pt>
                <c:pt idx="51">
                  <c:v>136.74104646048556</c:v>
                </c:pt>
                <c:pt idx="52">
                  <c:v>138.22188862925427</c:v>
                </c:pt>
                <c:pt idx="53">
                  <c:v>139.733280318716</c:v>
                </c:pt>
                <c:pt idx="54">
                  <c:v>141.27740322310578</c:v>
                </c:pt>
                <c:pt idx="55">
                  <c:v>142.85334979164523</c:v>
                </c:pt>
                <c:pt idx="56">
                  <c:v>144.45999235974438</c:v>
                </c:pt>
                <c:pt idx="57">
                  <c:v>146.0985353928013</c:v>
                </c:pt>
                <c:pt idx="58">
                  <c:v>147.76942591666358</c:v>
                </c:pt>
                <c:pt idx="59">
                  <c:v>149.47295914046248</c:v>
                </c:pt>
                <c:pt idx="60">
                  <c:v>151.21198227590378</c:v>
                </c:pt>
                <c:pt idx="61">
                  <c:v>152.98447300732889</c:v>
                </c:pt>
                <c:pt idx="62">
                  <c:v>154.79289038338936</c:v>
                </c:pt>
                <c:pt idx="63">
                  <c:v>156.63655999941653</c:v>
                </c:pt>
                <c:pt idx="64">
                  <c:v>158.51683243610466</c:v>
                </c:pt>
                <c:pt idx="65">
                  <c:v>160.43414302138231</c:v>
                </c:pt>
                <c:pt idx="66">
                  <c:v>162.39009059485824</c:v>
                </c:pt>
                <c:pt idx="67">
                  <c:v>164.38387895956919</c:v>
                </c:pt>
                <c:pt idx="68">
                  <c:v>166.41687742948102</c:v>
                </c:pt>
                <c:pt idx="69">
                  <c:v>168.48823640903407</c:v>
                </c:pt>
                <c:pt idx="70">
                  <c:v>170.60056379494512</c:v>
                </c:pt>
                <c:pt idx="71">
                  <c:v>172.75454399481524</c:v>
                </c:pt>
                <c:pt idx="72">
                  <c:v>174.94920207871951</c:v>
                </c:pt>
                <c:pt idx="73">
                  <c:v>177.18716612631115</c:v>
                </c:pt>
                <c:pt idx="74">
                  <c:v>179.46912512571117</c:v>
                </c:pt>
                <c:pt idx="75">
                  <c:v>181.79413706804053</c:v>
                </c:pt>
                <c:pt idx="76">
                  <c:v>184.1635696078452</c:v>
                </c:pt>
                <c:pt idx="77">
                  <c:v>186.57920374143418</c:v>
                </c:pt>
                <c:pt idx="78">
                  <c:v>189.04157726802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8EF-466C-83A6-686C0F8BA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5</c:v>
                </c:pt>
                <c:pt idx="4">
                  <c:v>6</c:v>
                </c:pt>
                <c:pt idx="5">
                  <c:v>8</c:v>
                </c:pt>
                <c:pt idx="6">
                  <c:v>12</c:v>
                </c:pt>
                <c:pt idx="7">
                  <c:v>13</c:v>
                </c:pt>
                <c:pt idx="8">
                  <c:v>13</c:v>
                </c:pt>
                <c:pt idx="9">
                  <c:v>19</c:v>
                </c:pt>
                <c:pt idx="10">
                  <c:v>21</c:v>
                </c:pt>
                <c:pt idx="11">
                  <c:v>21</c:v>
                </c:pt>
                <c:pt idx="12">
                  <c:v>25</c:v>
                </c:pt>
                <c:pt idx="13">
                  <c:v>25</c:v>
                </c:pt>
                <c:pt idx="14">
                  <c:v>26</c:v>
                </c:pt>
                <c:pt idx="15">
                  <c:v>26</c:v>
                </c:pt>
                <c:pt idx="16">
                  <c:v>29</c:v>
                </c:pt>
                <c:pt idx="17">
                  <c:v>30</c:v>
                </c:pt>
                <c:pt idx="18">
                  <c:v>30</c:v>
                </c:pt>
                <c:pt idx="19">
                  <c:v>31</c:v>
                </c:pt>
                <c:pt idx="20">
                  <c:v>32</c:v>
                </c:pt>
                <c:pt idx="21">
                  <c:v>32</c:v>
                </c:pt>
                <c:pt idx="22">
                  <c:v>32</c:v>
                </c:pt>
                <c:pt idx="23">
                  <c:v>32</c:v>
                </c:pt>
                <c:pt idx="24">
                  <c:v>32</c:v>
                </c:pt>
                <c:pt idx="25">
                  <c:v>32</c:v>
                </c:pt>
                <c:pt idx="26">
                  <c:v>33</c:v>
                </c:pt>
                <c:pt idx="27">
                  <c:v>34</c:v>
                </c:pt>
                <c:pt idx="28">
                  <c:v>35</c:v>
                </c:pt>
                <c:pt idx="29">
                  <c:v>35</c:v>
                </c:pt>
                <c:pt idx="30">
                  <c:v>35</c:v>
                </c:pt>
                <c:pt idx="31">
                  <c:v>35</c:v>
                </c:pt>
                <c:pt idx="32">
                  <c:v>35</c:v>
                </c:pt>
                <c:pt idx="33">
                  <c:v>35</c:v>
                </c:pt>
                <c:pt idx="34">
                  <c:v>35</c:v>
                </c:pt>
                <c:pt idx="35">
                  <c:v>35</c:v>
                </c:pt>
                <c:pt idx="36">
                  <c:v>35</c:v>
                </c:pt>
                <c:pt idx="37">
                  <c:v>35</c:v>
                </c:pt>
                <c:pt idx="38">
                  <c:v>35</c:v>
                </c:pt>
                <c:pt idx="39">
                  <c:v>35</c:v>
                </c:pt>
                <c:pt idx="4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5.466964959523331</c:v>
                </c:pt>
                <c:pt idx="32">
                  <c:v>35.896402561529115</c:v>
                </c:pt>
                <c:pt idx="33">
                  <c:v>36.298754284645149</c:v>
                </c:pt>
                <c:pt idx="34">
                  <c:v>36.673956488107365</c:v>
                </c:pt>
                <c:pt idx="35">
                  <c:v>37.024378685476194</c:v>
                </c:pt>
                <c:pt idx="36">
                  <c:v>37.356272973499543</c:v>
                </c:pt>
                <c:pt idx="37">
                  <c:v>37.670679948345921</c:v>
                </c:pt>
                <c:pt idx="38">
                  <c:v>37.968527160818937</c:v>
                </c:pt>
                <c:pt idx="39">
                  <c:v>38.250706171467968</c:v>
                </c:pt>
                <c:pt idx="40">
                  <c:v>38.517328358146983</c:v>
                </c:pt>
                <c:pt idx="41">
                  <c:v>38.769584471040154</c:v>
                </c:pt>
                <c:pt idx="42">
                  <c:v>39.007875085735996</c:v>
                </c:pt>
                <c:pt idx="43">
                  <c:v>39.233096149196228</c:v>
                </c:pt>
                <c:pt idx="44">
                  <c:v>39.447252126567605</c:v>
                </c:pt>
                <c:pt idx="45">
                  <c:v>39.649731962841003</c:v>
                </c:pt>
                <c:pt idx="46">
                  <c:v>39.842104156609892</c:v>
                </c:pt>
                <c:pt idx="47">
                  <c:v>40.024412424442787</c:v>
                </c:pt>
                <c:pt idx="48">
                  <c:v>40.19722467760419</c:v>
                </c:pt>
                <c:pt idx="49">
                  <c:v>40.361906029548933</c:v>
                </c:pt>
                <c:pt idx="50">
                  <c:v>40.518629531473216</c:v>
                </c:pt>
                <c:pt idx="51">
                  <c:v>40.667507905619559</c:v>
                </c:pt>
                <c:pt idx="52">
                  <c:v>40.80930507046196</c:v>
                </c:pt>
                <c:pt idx="53">
                  <c:v>40.944429004293191</c:v>
                </c:pt>
                <c:pt idx="54">
                  <c:v>41.073083609838022</c:v>
                </c:pt>
                <c:pt idx="55">
                  <c:v>41.195990979922101</c:v>
                </c:pt>
                <c:pt idx="56">
                  <c:v>41.313416750062963</c:v>
                </c:pt>
                <c:pt idx="57">
                  <c:v>41.425507542661414</c:v>
                </c:pt>
                <c:pt idx="58">
                  <c:v>41.53243614761795</c:v>
                </c:pt>
                <c:pt idx="59">
                  <c:v>41.635586399684961</c:v>
                </c:pt>
                <c:pt idx="60">
                  <c:v>41.734093197709839</c:v>
                </c:pt>
                <c:pt idx="61">
                  <c:v>41.828461052193923</c:v>
                </c:pt>
                <c:pt idx="62">
                  <c:v>41.918901173405757</c:v>
                </c:pt>
                <c:pt idx="63">
                  <c:v>42.006125276532501</c:v>
                </c:pt>
                <c:pt idx="64">
                  <c:v>42.089741980323382</c:v>
                </c:pt>
                <c:pt idx="65">
                  <c:v>42.170360825772768</c:v>
                </c:pt>
                <c:pt idx="66">
                  <c:v>42.248160266262225</c:v>
                </c:pt>
                <c:pt idx="67">
                  <c:v>42.323838178363303</c:v>
                </c:pt>
                <c:pt idx="68">
                  <c:v>42.396400310544848</c:v>
                </c:pt>
                <c:pt idx="69">
                  <c:v>42.466928802861666</c:v>
                </c:pt>
                <c:pt idx="70">
                  <c:v>42.535081376252911</c:v>
                </c:pt>
                <c:pt idx="71">
                  <c:v>42.60083793551032</c:v>
                </c:pt>
                <c:pt idx="72">
                  <c:v>42.664846666107081</c:v>
                </c:pt>
                <c:pt idx="73">
                  <c:v>42.726665496593455</c:v>
                </c:pt>
                <c:pt idx="74">
                  <c:v>42.787441930147942</c:v>
                </c:pt>
                <c:pt idx="75">
                  <c:v>42.846232419893539</c:v>
                </c:pt>
                <c:pt idx="76">
                  <c:v>42.9035037453434</c:v>
                </c:pt>
                <c:pt idx="77">
                  <c:v>42.958768335976742</c:v>
                </c:pt>
                <c:pt idx="78">
                  <c:v>43.013165999770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F08-4FB0-8DAB-E5C969FEAE76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08-4FB0-8DAB-E5C969FEAE76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5.488679815682758</c:v>
                </c:pt>
                <c:pt idx="32">
                  <c:v>35.955178396399262</c:v>
                </c:pt>
                <c:pt idx="33">
                  <c:v>36.404056166045372</c:v>
                </c:pt>
                <c:pt idx="34">
                  <c:v>36.831910258006516</c:v>
                </c:pt>
                <c:pt idx="35">
                  <c:v>37.24273818602812</c:v>
                </c:pt>
                <c:pt idx="36">
                  <c:v>37.645752062584997</c:v>
                </c:pt>
                <c:pt idx="37">
                  <c:v>38.044099622808233</c:v>
                </c:pt>
                <c:pt idx="38">
                  <c:v>38.438052462922229</c:v>
                </c:pt>
                <c:pt idx="39">
                  <c:v>38.825376764306178</c:v>
                </c:pt>
                <c:pt idx="40">
                  <c:v>39.205021469592168</c:v>
                </c:pt>
                <c:pt idx="41">
                  <c:v>39.577215858210877</c:v>
                </c:pt>
                <c:pt idx="42">
                  <c:v>39.943857443962408</c:v>
                </c:pt>
                <c:pt idx="43">
                  <c:v>40.305925877238558</c:v>
                </c:pt>
                <c:pt idx="44">
                  <c:v>40.664106093361909</c:v>
                </c:pt>
                <c:pt idx="45">
                  <c:v>41.01680789063991</c:v>
                </c:pt>
                <c:pt idx="46">
                  <c:v>41.364030778368821</c:v>
                </c:pt>
                <c:pt idx="47">
                  <c:v>41.705919952185617</c:v>
                </c:pt>
                <c:pt idx="48">
                  <c:v>42.043473768933453</c:v>
                </c:pt>
                <c:pt idx="49">
                  <c:v>42.376770341867463</c:v>
                </c:pt>
                <c:pt idx="50">
                  <c:v>42.70557478874192</c:v>
                </c:pt>
                <c:pt idx="51">
                  <c:v>43.030392522195662</c:v>
                </c:pt>
                <c:pt idx="52">
                  <c:v>43.350706643190208</c:v>
                </c:pt>
                <c:pt idx="53">
                  <c:v>43.666548573026951</c:v>
                </c:pt>
                <c:pt idx="54">
                  <c:v>43.97854038216493</c:v>
                </c:pt>
                <c:pt idx="55">
                  <c:v>44.286762784130815</c:v>
                </c:pt>
                <c:pt idx="56">
                  <c:v>44.591268614755954</c:v>
                </c:pt>
                <c:pt idx="57">
                  <c:v>44.891481818495159</c:v>
                </c:pt>
                <c:pt idx="58">
                  <c:v>45.187942326600862</c:v>
                </c:pt>
                <c:pt idx="59">
                  <c:v>45.480810400449272</c:v>
                </c:pt>
                <c:pt idx="60">
                  <c:v>45.770116722372094</c:v>
                </c:pt>
                <c:pt idx="61">
                  <c:v>46.055852222198951</c:v>
                </c:pt>
                <c:pt idx="62">
                  <c:v>46.338060464118982</c:v>
                </c:pt>
                <c:pt idx="63">
                  <c:v>46.616758602555279</c:v>
                </c:pt>
                <c:pt idx="64">
                  <c:v>46.891967935017085</c:v>
                </c:pt>
                <c:pt idx="65">
                  <c:v>47.164314758999396</c:v>
                </c:pt>
                <c:pt idx="66">
                  <c:v>47.433333704094892</c:v>
                </c:pt>
                <c:pt idx="67">
                  <c:v>47.698963227430994</c:v>
                </c:pt>
                <c:pt idx="68">
                  <c:v>47.961812245980717</c:v>
                </c:pt>
                <c:pt idx="69">
                  <c:v>48.22141087795012</c:v>
                </c:pt>
                <c:pt idx="70">
                  <c:v>48.478290060536565</c:v>
                </c:pt>
                <c:pt idx="71">
                  <c:v>48.731973948096588</c:v>
                </c:pt>
                <c:pt idx="72">
                  <c:v>48.982988521995424</c:v>
                </c:pt>
                <c:pt idx="73">
                  <c:v>49.230842961285298</c:v>
                </c:pt>
                <c:pt idx="74">
                  <c:v>49.476063698234633</c:v>
                </c:pt>
                <c:pt idx="75">
                  <c:v>49.718757658890119</c:v>
                </c:pt>
                <c:pt idx="76">
                  <c:v>49.958360637049921</c:v>
                </c:pt>
                <c:pt idx="77">
                  <c:v>50.195982925043388</c:v>
                </c:pt>
                <c:pt idx="78">
                  <c:v>50.430648174966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F08-4FB0-8DAB-E5C969FEAE76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5.510394671841738</c:v>
                </c:pt>
                <c:pt idx="32">
                  <c:v>36.014557421717861</c:v>
                </c:pt>
                <c:pt idx="33">
                  <c:v>36.510085923851925</c:v>
                </c:pt>
                <c:pt idx="34">
                  <c:v>36.990038491822524</c:v>
                </c:pt>
                <c:pt idx="35">
                  <c:v>37.463607306981302</c:v>
                </c:pt>
                <c:pt idx="36">
                  <c:v>37.943666710646447</c:v>
                </c:pt>
                <c:pt idx="37">
                  <c:v>38.436324541889903</c:v>
                </c:pt>
                <c:pt idx="38">
                  <c:v>38.942764179485096</c:v>
                </c:pt>
                <c:pt idx="39">
                  <c:v>39.455745730781025</c:v>
                </c:pt>
                <c:pt idx="40">
                  <c:v>39.972936831419062</c:v>
                </c:pt>
                <c:pt idx="41">
                  <c:v>40.496823245374358</c:v>
                </c:pt>
                <c:pt idx="42">
                  <c:v>41.032201064047968</c:v>
                </c:pt>
                <c:pt idx="43">
                  <c:v>41.581231765715465</c:v>
                </c:pt>
                <c:pt idx="44">
                  <c:v>42.142572469531885</c:v>
                </c:pt>
                <c:pt idx="45">
                  <c:v>42.714360770303301</c:v>
                </c:pt>
                <c:pt idx="46">
                  <c:v>43.295380207328598</c:v>
                </c:pt>
                <c:pt idx="47">
                  <c:v>43.887972157593069</c:v>
                </c:pt>
                <c:pt idx="48">
                  <c:v>44.493576523173751</c:v>
                </c:pt>
                <c:pt idx="49">
                  <c:v>45.112416016416105</c:v>
                </c:pt>
                <c:pt idx="50">
                  <c:v>45.744331797583484</c:v>
                </c:pt>
                <c:pt idx="51">
                  <c:v>46.38811645703926</c:v>
                </c:pt>
                <c:pt idx="52">
                  <c:v>47.043559681865354</c:v>
                </c:pt>
                <c:pt idx="53">
                  <c:v>47.712545481499738</c:v>
                </c:pt>
                <c:pt idx="54">
                  <c:v>48.396059804337696</c:v>
                </c:pt>
                <c:pt idx="55">
                  <c:v>49.093701759221418</c:v>
                </c:pt>
                <c:pt idx="56">
                  <c:v>49.804911203950738</c:v>
                </c:pt>
                <c:pt idx="57">
                  <c:v>50.530223750753279</c:v>
                </c:pt>
                <c:pt idx="58">
                  <c:v>51.269824683246505</c:v>
                </c:pt>
                <c:pt idx="59">
                  <c:v>52.023866076274132</c:v>
                </c:pt>
                <c:pt idx="60">
                  <c:v>52.793629428789693</c:v>
                </c:pt>
                <c:pt idx="61">
                  <c:v>53.578184935395697</c:v>
                </c:pt>
                <c:pt idx="62">
                  <c:v>54.378649522631513</c:v>
                </c:pt>
                <c:pt idx="63">
                  <c:v>55.194703133372428</c:v>
                </c:pt>
                <c:pt idx="64">
                  <c:v>56.026956529144144</c:v>
                </c:pt>
                <c:pt idx="65">
                  <c:v>56.875598923231827</c:v>
                </c:pt>
                <c:pt idx="66">
                  <c:v>57.741355997334658</c:v>
                </c:pt>
                <c:pt idx="67">
                  <c:v>58.623844970141739</c:v>
                </c:pt>
                <c:pt idx="68">
                  <c:v>59.523683611203566</c:v>
                </c:pt>
                <c:pt idx="69">
                  <c:v>60.440464979864061</c:v>
                </c:pt>
                <c:pt idx="70">
                  <c:v>61.375380919947212</c:v>
                </c:pt>
                <c:pt idx="71">
                  <c:v>62.328736666637845</c:v>
                </c:pt>
                <c:pt idx="72">
                  <c:v>63.300066335727507</c:v>
                </c:pt>
                <c:pt idx="73">
                  <c:v>64.290571274847039</c:v>
                </c:pt>
                <c:pt idx="74">
                  <c:v>65.300559789415331</c:v>
                </c:pt>
                <c:pt idx="75">
                  <c:v>66.329577807016051</c:v>
                </c:pt>
                <c:pt idx="76">
                  <c:v>67.378241397582912</c:v>
                </c:pt>
                <c:pt idx="77">
                  <c:v>68.447360739336702</c:v>
                </c:pt>
                <c:pt idx="78">
                  <c:v>69.537166803788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F08-4FB0-8DAB-E5C969FEAE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26</c:v>
                </c:pt>
                <c:pt idx="2">
                  <c:v>61</c:v>
                </c:pt>
                <c:pt idx="3">
                  <c:v>77</c:v>
                </c:pt>
                <c:pt idx="4">
                  <c:v>95</c:v>
                </c:pt>
                <c:pt idx="5">
                  <c:v>109</c:v>
                </c:pt>
                <c:pt idx="6">
                  <c:v>123</c:v>
                </c:pt>
                <c:pt idx="7">
                  <c:v>127</c:v>
                </c:pt>
                <c:pt idx="8">
                  <c:v>138</c:v>
                </c:pt>
                <c:pt idx="9">
                  <c:v>155</c:v>
                </c:pt>
                <c:pt idx="10">
                  <c:v>162</c:v>
                </c:pt>
                <c:pt idx="11">
                  <c:v>175</c:v>
                </c:pt>
                <c:pt idx="12">
                  <c:v>191</c:v>
                </c:pt>
                <c:pt idx="13">
                  <c:v>198</c:v>
                </c:pt>
                <c:pt idx="14">
                  <c:v>205</c:v>
                </c:pt>
                <c:pt idx="15">
                  <c:v>216</c:v>
                </c:pt>
                <c:pt idx="16">
                  <c:v>225</c:v>
                </c:pt>
                <c:pt idx="17">
                  <c:v>227</c:v>
                </c:pt>
                <c:pt idx="18">
                  <c:v>234</c:v>
                </c:pt>
                <c:pt idx="19">
                  <c:v>240</c:v>
                </c:pt>
                <c:pt idx="20">
                  <c:v>250</c:v>
                </c:pt>
                <c:pt idx="21">
                  <c:v>251</c:v>
                </c:pt>
                <c:pt idx="22">
                  <c:v>253</c:v>
                </c:pt>
                <c:pt idx="23">
                  <c:v>258</c:v>
                </c:pt>
                <c:pt idx="24">
                  <c:v>263</c:v>
                </c:pt>
                <c:pt idx="25">
                  <c:v>266</c:v>
                </c:pt>
                <c:pt idx="26">
                  <c:v>269</c:v>
                </c:pt>
                <c:pt idx="27">
                  <c:v>270</c:v>
                </c:pt>
                <c:pt idx="28">
                  <c:v>272</c:v>
                </c:pt>
                <c:pt idx="29">
                  <c:v>274</c:v>
                </c:pt>
                <c:pt idx="30">
                  <c:v>282</c:v>
                </c:pt>
                <c:pt idx="31">
                  <c:v>285</c:v>
                </c:pt>
                <c:pt idx="32">
                  <c:v>285</c:v>
                </c:pt>
                <c:pt idx="33">
                  <c:v>286</c:v>
                </c:pt>
                <c:pt idx="34">
                  <c:v>286</c:v>
                </c:pt>
                <c:pt idx="35">
                  <c:v>286</c:v>
                </c:pt>
                <c:pt idx="36">
                  <c:v>286</c:v>
                </c:pt>
                <c:pt idx="37">
                  <c:v>286</c:v>
                </c:pt>
                <c:pt idx="38">
                  <c:v>292</c:v>
                </c:pt>
                <c:pt idx="39">
                  <c:v>295</c:v>
                </c:pt>
                <c:pt idx="40">
                  <c:v>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82.45015740564946</c:v>
                </c:pt>
                <c:pt idx="32">
                  <c:v>284.71160079308584</c:v>
                </c:pt>
                <c:pt idx="33">
                  <c:v>286.82717038820607</c:v>
                </c:pt>
                <c:pt idx="34">
                  <c:v>288.79850247507915</c:v>
                </c:pt>
                <c:pt idx="35">
                  <c:v>290.64174277670168</c:v>
                </c:pt>
                <c:pt idx="36">
                  <c:v>292.38902275470917</c:v>
                </c:pt>
                <c:pt idx="37">
                  <c:v>294.048140637713</c:v>
                </c:pt>
                <c:pt idx="38">
                  <c:v>295.62175568248711</c:v>
                </c:pt>
                <c:pt idx="39">
                  <c:v>297.11479551820685</c:v>
                </c:pt>
                <c:pt idx="40">
                  <c:v>298.52595828649413</c:v>
                </c:pt>
                <c:pt idx="41">
                  <c:v>299.86049739907992</c:v>
                </c:pt>
                <c:pt idx="42">
                  <c:v>301.12128300095407</c:v>
                </c:pt>
                <c:pt idx="43">
                  <c:v>302.31312807569577</c:v>
                </c:pt>
                <c:pt idx="44">
                  <c:v>303.44650886258171</c:v>
                </c:pt>
                <c:pt idx="45">
                  <c:v>304.5180338597383</c:v>
                </c:pt>
                <c:pt idx="46">
                  <c:v>305.53598281174249</c:v>
                </c:pt>
                <c:pt idx="47">
                  <c:v>306.50043205315114</c:v>
                </c:pt>
                <c:pt idx="48">
                  <c:v>307.41452284585091</c:v>
                </c:pt>
                <c:pt idx="49">
                  <c:v>308.28505917993272</c:v>
                </c:pt>
                <c:pt idx="50">
                  <c:v>309.1134884855494</c:v>
                </c:pt>
                <c:pt idx="51">
                  <c:v>309.90065451588714</c:v>
                </c:pt>
                <c:pt idx="52">
                  <c:v>310.65010487657173</c:v>
                </c:pt>
                <c:pt idx="53">
                  <c:v>311.36410009824675</c:v>
                </c:pt>
                <c:pt idx="54">
                  <c:v>312.0439235717713</c:v>
                </c:pt>
                <c:pt idx="55">
                  <c:v>312.69302364916115</c:v>
                </c:pt>
                <c:pt idx="56">
                  <c:v>313.31300338333847</c:v>
                </c:pt>
                <c:pt idx="57">
                  <c:v>313.90477870218149</c:v>
                </c:pt>
                <c:pt idx="58">
                  <c:v>314.46939126104263</c:v>
                </c:pt>
                <c:pt idx="59">
                  <c:v>315.01352358123029</c:v>
                </c:pt>
                <c:pt idx="60">
                  <c:v>315.53321544021833</c:v>
                </c:pt>
                <c:pt idx="61">
                  <c:v>316.03095758264749</c:v>
                </c:pt>
                <c:pt idx="62">
                  <c:v>316.50790599301394</c:v>
                </c:pt>
                <c:pt idx="63">
                  <c:v>316.96764316962407</c:v>
                </c:pt>
                <c:pt idx="64">
                  <c:v>317.40834709812032</c:v>
                </c:pt>
                <c:pt idx="65">
                  <c:v>317.83309161398518</c:v>
                </c:pt>
                <c:pt idx="66">
                  <c:v>318.24281835302463</c:v>
                </c:pt>
                <c:pt idx="67">
                  <c:v>318.64101992024928</c:v>
                </c:pt>
                <c:pt idx="68">
                  <c:v>319.0229057225946</c:v>
                </c:pt>
                <c:pt idx="69">
                  <c:v>319.39385695809477</c:v>
                </c:pt>
                <c:pt idx="70">
                  <c:v>319.75224789334942</c:v>
                </c:pt>
                <c:pt idx="71">
                  <c:v>320.09806078930785</c:v>
                </c:pt>
                <c:pt idx="72">
                  <c:v>320.43452284191414</c:v>
                </c:pt>
                <c:pt idx="73">
                  <c:v>320.75950305050173</c:v>
                </c:pt>
                <c:pt idx="74">
                  <c:v>321.07867681815679</c:v>
                </c:pt>
                <c:pt idx="75">
                  <c:v>321.38744206425639</c:v>
                </c:pt>
                <c:pt idx="76">
                  <c:v>321.68814556242728</c:v>
                </c:pt>
                <c:pt idx="77">
                  <c:v>321.97841987165913</c:v>
                </c:pt>
                <c:pt idx="78">
                  <c:v>322.2638860927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2-4FA4-B2F5-102564E2263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2-4FA4-B2F5-102564E2263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82.55652545765417</c:v>
                </c:pt>
                <c:pt idx="32">
                  <c:v>284.99959218434412</c:v>
                </c:pt>
                <c:pt idx="33">
                  <c:v>287.34406806186882</c:v>
                </c:pt>
                <c:pt idx="34">
                  <c:v>289.57580392900701</c:v>
                </c:pt>
                <c:pt idx="35">
                  <c:v>291.71953113928134</c:v>
                </c:pt>
                <c:pt idx="36">
                  <c:v>293.82259651623485</c:v>
                </c:pt>
                <c:pt idx="37">
                  <c:v>295.90362669144565</c:v>
                </c:pt>
                <c:pt idx="38">
                  <c:v>297.96243236533769</c:v>
                </c:pt>
                <c:pt idx="39">
                  <c:v>299.98867520366105</c:v>
                </c:pt>
                <c:pt idx="40">
                  <c:v>301.97527219805494</c:v>
                </c:pt>
                <c:pt idx="41">
                  <c:v>303.92253672202901</c:v>
                </c:pt>
                <c:pt idx="42">
                  <c:v>305.84047881626918</c:v>
                </c:pt>
                <c:pt idx="43">
                  <c:v>307.73419228439963</c:v>
                </c:pt>
                <c:pt idx="44">
                  <c:v>309.607551458925</c:v>
                </c:pt>
                <c:pt idx="45">
                  <c:v>311.45219058081705</c:v>
                </c:pt>
                <c:pt idx="46">
                  <c:v>313.26845640087737</c:v>
                </c:pt>
                <c:pt idx="47">
                  <c:v>315.05672958726757</c:v>
                </c:pt>
                <c:pt idx="48">
                  <c:v>316.82202510930938</c:v>
                </c:pt>
                <c:pt idx="49">
                  <c:v>318.56469215975352</c:v>
                </c:pt>
                <c:pt idx="50">
                  <c:v>320.28402358834313</c:v>
                </c:pt>
                <c:pt idx="51">
                  <c:v>321.98259807485363</c:v>
                </c:pt>
                <c:pt idx="52">
                  <c:v>323.65752219080156</c:v>
                </c:pt>
                <c:pt idx="53">
                  <c:v>325.30906885577281</c:v>
                </c:pt>
                <c:pt idx="54">
                  <c:v>326.94040724442385</c:v>
                </c:pt>
                <c:pt idx="55">
                  <c:v>328.55173187361913</c:v>
                </c:pt>
                <c:pt idx="56">
                  <c:v>330.14350828076687</c:v>
                </c:pt>
                <c:pt idx="57">
                  <c:v>331.71301187590058</c:v>
                </c:pt>
                <c:pt idx="58">
                  <c:v>333.26299124148409</c:v>
                </c:pt>
                <c:pt idx="59">
                  <c:v>334.79403928478507</c:v>
                </c:pt>
                <c:pt idx="60">
                  <c:v>336.30649421644068</c:v>
                </c:pt>
                <c:pt idx="61">
                  <c:v>337.80022402063747</c:v>
                </c:pt>
                <c:pt idx="62">
                  <c:v>339.27549182545795</c:v>
                </c:pt>
                <c:pt idx="63">
                  <c:v>340.73240701671125</c:v>
                </c:pt>
                <c:pt idx="64">
                  <c:v>342.17109302177272</c:v>
                </c:pt>
                <c:pt idx="65">
                  <c:v>343.59463578323334</c:v>
                </c:pt>
                <c:pt idx="66">
                  <c:v>345.00077356210272</c:v>
                </c:pt>
                <c:pt idx="67">
                  <c:v>346.38923896246047</c:v>
                </c:pt>
                <c:pt idx="68">
                  <c:v>347.76302926336865</c:v>
                </c:pt>
                <c:pt idx="69">
                  <c:v>349.11985943239176</c:v>
                </c:pt>
                <c:pt idx="70">
                  <c:v>350.46236962843756</c:v>
                </c:pt>
                <c:pt idx="71">
                  <c:v>351.78823679240929</c:v>
                </c:pt>
                <c:pt idx="72">
                  <c:v>353.10006912211878</c:v>
                </c:pt>
                <c:pt idx="73">
                  <c:v>354.39546892252116</c:v>
                </c:pt>
                <c:pt idx="74">
                  <c:v>355.6770385382946</c:v>
                </c:pt>
                <c:pt idx="75">
                  <c:v>356.94530790098491</c:v>
                </c:pt>
                <c:pt idx="76">
                  <c:v>358.19753100437168</c:v>
                </c:pt>
                <c:pt idx="77">
                  <c:v>359.43916936904105</c:v>
                </c:pt>
                <c:pt idx="78">
                  <c:v>360.665436058357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2-4FA4-B2F5-102564E2263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82.66289350965673</c:v>
                </c:pt>
                <c:pt idx="32">
                  <c:v>285.29053824371198</c:v>
                </c:pt>
                <c:pt idx="33">
                  <c:v>287.86453349423232</c:v>
                </c:pt>
                <c:pt idx="34">
                  <c:v>290.3539866762884</c:v>
                </c:pt>
                <c:pt idx="35">
                  <c:v>292.80966563707716</c:v>
                </c:pt>
                <c:pt idx="36">
                  <c:v>295.2975666851363</c:v>
                </c:pt>
                <c:pt idx="37">
                  <c:v>297.85144291735281</c:v>
                </c:pt>
                <c:pt idx="38">
                  <c:v>300.47606160207852</c:v>
                </c:pt>
                <c:pt idx="39">
                  <c:v>303.13680913342597</c:v>
                </c:pt>
                <c:pt idx="40">
                  <c:v>305.82054368952799</c:v>
                </c:pt>
                <c:pt idx="41">
                  <c:v>308.53865067657239</c:v>
                </c:pt>
                <c:pt idx="42">
                  <c:v>311.31541418948893</c:v>
                </c:pt>
                <c:pt idx="43">
                  <c:v>314.16190566233041</c:v>
                </c:pt>
                <c:pt idx="44">
                  <c:v>317.07219560961153</c:v>
                </c:pt>
                <c:pt idx="45">
                  <c:v>320.03666215516955</c:v>
                </c:pt>
                <c:pt idx="46">
                  <c:v>323.04967199254105</c:v>
                </c:pt>
                <c:pt idx="47">
                  <c:v>326.12243120969356</c:v>
                </c:pt>
                <c:pt idx="48">
                  <c:v>329.26213715358233</c:v>
                </c:pt>
                <c:pt idx="49">
                  <c:v>332.46996528121053</c:v>
                </c:pt>
                <c:pt idx="50">
                  <c:v>335.74565291871539</c:v>
                </c:pt>
                <c:pt idx="51">
                  <c:v>339.08342974441371</c:v>
                </c:pt>
                <c:pt idx="52">
                  <c:v>342.48195399791121</c:v>
                </c:pt>
                <c:pt idx="53">
                  <c:v>345.950557949109</c:v>
                </c:pt>
                <c:pt idx="54">
                  <c:v>349.49421818911645</c:v>
                </c:pt>
                <c:pt idx="55">
                  <c:v>353.11085068966781</c:v>
                </c:pt>
                <c:pt idx="56">
                  <c:v>356.79795881320871</c:v>
                </c:pt>
                <c:pt idx="57">
                  <c:v>360.5583030621271</c:v>
                </c:pt>
                <c:pt idx="58">
                  <c:v>364.39292818527235</c:v>
                </c:pt>
                <c:pt idx="59">
                  <c:v>368.30247963458169</c:v>
                </c:pt>
                <c:pt idx="60">
                  <c:v>372.29345988927275</c:v>
                </c:pt>
                <c:pt idx="61">
                  <c:v>376.36127968808341</c:v>
                </c:pt>
                <c:pt idx="62">
                  <c:v>380.51153984850924</c:v>
                </c:pt>
                <c:pt idx="63">
                  <c:v>384.74272488346844</c:v>
                </c:pt>
                <c:pt idx="64">
                  <c:v>389.05791494618472</c:v>
                </c:pt>
                <c:pt idx="65">
                  <c:v>393.45811430543216</c:v>
                </c:pt>
                <c:pt idx="66">
                  <c:v>397.94696532696457</c:v>
                </c:pt>
                <c:pt idx="67">
                  <c:v>402.52268620996824</c:v>
                </c:pt>
                <c:pt idx="68">
                  <c:v>407.1884020219361</c:v>
                </c:pt>
                <c:pt idx="69">
                  <c:v>411.94220919746795</c:v>
                </c:pt>
                <c:pt idx="70">
                  <c:v>416.79003663458337</c:v>
                </c:pt>
                <c:pt idx="71">
                  <c:v>421.73345159278961</c:v>
                </c:pt>
                <c:pt idx="72">
                  <c:v>426.7702680575178</c:v>
                </c:pt>
                <c:pt idx="73">
                  <c:v>431.90646039244018</c:v>
                </c:pt>
                <c:pt idx="74">
                  <c:v>437.14360480825133</c:v>
                </c:pt>
                <c:pt idx="75">
                  <c:v>442.4795949749747</c:v>
                </c:pt>
                <c:pt idx="76">
                  <c:v>447.91755359651802</c:v>
                </c:pt>
                <c:pt idx="77">
                  <c:v>453.46153529214371</c:v>
                </c:pt>
                <c:pt idx="78">
                  <c:v>459.11278488641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2-4FA4-B2F5-102564E226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12</c:v>
                </c:pt>
                <c:pt idx="2">
                  <c:v>23</c:v>
                </c:pt>
                <c:pt idx="3">
                  <c:v>26</c:v>
                </c:pt>
                <c:pt idx="4">
                  <c:v>33</c:v>
                </c:pt>
                <c:pt idx="5">
                  <c:v>44</c:v>
                </c:pt>
                <c:pt idx="6">
                  <c:v>55</c:v>
                </c:pt>
                <c:pt idx="7">
                  <c:v>60</c:v>
                </c:pt>
                <c:pt idx="8">
                  <c:v>65</c:v>
                </c:pt>
                <c:pt idx="9">
                  <c:v>71</c:v>
                </c:pt>
                <c:pt idx="10">
                  <c:v>75</c:v>
                </c:pt>
                <c:pt idx="11">
                  <c:v>76</c:v>
                </c:pt>
                <c:pt idx="12">
                  <c:v>77</c:v>
                </c:pt>
                <c:pt idx="13">
                  <c:v>78</c:v>
                </c:pt>
                <c:pt idx="14">
                  <c:v>80</c:v>
                </c:pt>
                <c:pt idx="15">
                  <c:v>82</c:v>
                </c:pt>
                <c:pt idx="16">
                  <c:v>85</c:v>
                </c:pt>
                <c:pt idx="17">
                  <c:v>87</c:v>
                </c:pt>
                <c:pt idx="18">
                  <c:v>90</c:v>
                </c:pt>
                <c:pt idx="19">
                  <c:v>95</c:v>
                </c:pt>
                <c:pt idx="20">
                  <c:v>100</c:v>
                </c:pt>
                <c:pt idx="21">
                  <c:v>103</c:v>
                </c:pt>
                <c:pt idx="22">
                  <c:v>105</c:v>
                </c:pt>
                <c:pt idx="23">
                  <c:v>106</c:v>
                </c:pt>
                <c:pt idx="24">
                  <c:v>110</c:v>
                </c:pt>
                <c:pt idx="25">
                  <c:v>116</c:v>
                </c:pt>
                <c:pt idx="26">
                  <c:v>116</c:v>
                </c:pt>
                <c:pt idx="27">
                  <c:v>122</c:v>
                </c:pt>
                <c:pt idx="28">
                  <c:v>123</c:v>
                </c:pt>
                <c:pt idx="29">
                  <c:v>125</c:v>
                </c:pt>
                <c:pt idx="30">
                  <c:v>126</c:v>
                </c:pt>
                <c:pt idx="31">
                  <c:v>126</c:v>
                </c:pt>
                <c:pt idx="32">
                  <c:v>129</c:v>
                </c:pt>
                <c:pt idx="33">
                  <c:v>130</c:v>
                </c:pt>
                <c:pt idx="34">
                  <c:v>131</c:v>
                </c:pt>
                <c:pt idx="35">
                  <c:v>134</c:v>
                </c:pt>
                <c:pt idx="36">
                  <c:v>136</c:v>
                </c:pt>
                <c:pt idx="37">
                  <c:v>137</c:v>
                </c:pt>
                <c:pt idx="38">
                  <c:v>137</c:v>
                </c:pt>
                <c:pt idx="39">
                  <c:v>137</c:v>
                </c:pt>
                <c:pt idx="40">
                  <c:v>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27.25340382367465</c:v>
                </c:pt>
                <c:pt idx="32">
                  <c:v>128.4151764353829</c:v>
                </c:pt>
                <c:pt idx="33">
                  <c:v>129.50007638885666</c:v>
                </c:pt>
                <c:pt idx="34">
                  <c:v>130.51012108347584</c:v>
                </c:pt>
                <c:pt idx="35">
                  <c:v>131.45579442920453</c:v>
                </c:pt>
                <c:pt idx="36">
                  <c:v>132.35313031086898</c:v>
                </c:pt>
                <c:pt idx="37">
                  <c:v>133.20751882147093</c:v>
                </c:pt>
                <c:pt idx="38">
                  <c:v>134.01899777707325</c:v>
                </c:pt>
                <c:pt idx="39">
                  <c:v>134.79023750786118</c:v>
                </c:pt>
                <c:pt idx="40">
                  <c:v>135.51944198746384</c:v>
                </c:pt>
                <c:pt idx="41">
                  <c:v>136.20870289288058</c:v>
                </c:pt>
                <c:pt idx="42">
                  <c:v>136.85994878073376</c:v>
                </c:pt>
                <c:pt idx="43">
                  <c:v>137.47570886098376</c:v>
                </c:pt>
                <c:pt idx="44">
                  <c:v>138.06131770771427</c:v>
                </c:pt>
                <c:pt idx="45">
                  <c:v>138.61492934627057</c:v>
                </c:pt>
                <c:pt idx="46">
                  <c:v>139.14080923714107</c:v>
                </c:pt>
                <c:pt idx="47">
                  <c:v>139.63890474121453</c:v>
                </c:pt>
                <c:pt idx="48">
                  <c:v>140.11091952255404</c:v>
                </c:pt>
                <c:pt idx="49">
                  <c:v>140.5601193159743</c:v>
                </c:pt>
                <c:pt idx="50">
                  <c:v>140.98756774157346</c:v>
                </c:pt>
                <c:pt idx="51">
                  <c:v>141.39384758276725</c:v>
                </c:pt>
                <c:pt idx="52">
                  <c:v>141.78049767420745</c:v>
                </c:pt>
                <c:pt idx="53">
                  <c:v>142.14874623086882</c:v>
                </c:pt>
                <c:pt idx="54">
                  <c:v>142.49937770165684</c:v>
                </c:pt>
                <c:pt idx="55">
                  <c:v>142.83395216115744</c:v>
                </c:pt>
                <c:pt idx="56">
                  <c:v>143.15341503928866</c:v>
                </c:pt>
                <c:pt idx="57">
                  <c:v>143.45832271749953</c:v>
                </c:pt>
                <c:pt idx="58">
                  <c:v>143.74928896114585</c:v>
                </c:pt>
                <c:pt idx="59">
                  <c:v>144.02938574571738</c:v>
                </c:pt>
                <c:pt idx="60">
                  <c:v>144.2969340231792</c:v>
                </c:pt>
                <c:pt idx="61">
                  <c:v>144.55311425354398</c:v>
                </c:pt>
                <c:pt idx="62">
                  <c:v>144.79854641026463</c:v>
                </c:pt>
                <c:pt idx="63">
                  <c:v>145.03497217978563</c:v>
                </c:pt>
                <c:pt idx="64">
                  <c:v>145.26159821591216</c:v>
                </c:pt>
                <c:pt idx="65">
                  <c:v>145.47992243451748</c:v>
                </c:pt>
                <c:pt idx="66">
                  <c:v>145.69042971084653</c:v>
                </c:pt>
                <c:pt idx="67">
                  <c:v>145.8948053917332</c:v>
                </c:pt>
                <c:pt idx="68">
                  <c:v>146.09085415014439</c:v>
                </c:pt>
                <c:pt idx="69">
                  <c:v>146.28115099938026</c:v>
                </c:pt>
                <c:pt idx="70">
                  <c:v>146.46496624390045</c:v>
                </c:pt>
                <c:pt idx="71">
                  <c:v>146.64234334986074</c:v>
                </c:pt>
                <c:pt idx="72">
                  <c:v>146.81482908710899</c:v>
                </c:pt>
                <c:pt idx="73">
                  <c:v>146.9814462737655</c:v>
                </c:pt>
                <c:pt idx="74">
                  <c:v>147.14489121843039</c:v>
                </c:pt>
                <c:pt idx="75">
                  <c:v>147.30301857932432</c:v>
                </c:pt>
                <c:pt idx="76">
                  <c:v>147.45696751942376</c:v>
                </c:pt>
                <c:pt idx="77">
                  <c:v>147.60564127674371</c:v>
                </c:pt>
                <c:pt idx="78">
                  <c:v>147.751700038114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CD-45F7-91F0-64CD8D6CA0FC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CD-45F7-91F0-64CD8D6CA0FC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27.30328270653935</c:v>
                </c:pt>
                <c:pt idx="32">
                  <c:v>128.55027726196323</c:v>
                </c:pt>
                <c:pt idx="33">
                  <c:v>129.7431613336461</c:v>
                </c:pt>
                <c:pt idx="34">
                  <c:v>130.87691679045042</c:v>
                </c:pt>
                <c:pt idx="35">
                  <c:v>131.96644569697406</c:v>
                </c:pt>
                <c:pt idx="36">
                  <c:v>133.03537632744656</c:v>
                </c:pt>
                <c:pt idx="37">
                  <c:v>134.09450173232727</c:v>
                </c:pt>
                <c:pt idx="38">
                  <c:v>135.14275791780804</c:v>
                </c:pt>
                <c:pt idx="39">
                  <c:v>136.17568443430042</c:v>
                </c:pt>
                <c:pt idx="40">
                  <c:v>137.18871843645775</c:v>
                </c:pt>
                <c:pt idx="41">
                  <c:v>138.18148724763165</c:v>
                </c:pt>
                <c:pt idx="42">
                  <c:v>139.15914385118759</c:v>
                </c:pt>
                <c:pt idx="43">
                  <c:v>140.12426623455053</c:v>
                </c:pt>
                <c:pt idx="44">
                  <c:v>141.07900439245935</c:v>
                </c:pt>
                <c:pt idx="45">
                  <c:v>142.01906555442875</c:v>
                </c:pt>
                <c:pt idx="46">
                  <c:v>142.94483638372492</c:v>
                </c:pt>
                <c:pt idx="47">
                  <c:v>143.85628325747186</c:v>
                </c:pt>
                <c:pt idx="48">
                  <c:v>144.75583780266757</c:v>
                </c:pt>
                <c:pt idx="49">
                  <c:v>145.64364230770843</c:v>
                </c:pt>
                <c:pt idx="50">
                  <c:v>146.51964971096692</c:v>
                </c:pt>
                <c:pt idx="51">
                  <c:v>147.38513530230026</c:v>
                </c:pt>
                <c:pt idx="52">
                  <c:v>148.2385103212309</c:v>
                </c:pt>
                <c:pt idx="53">
                  <c:v>149.07997911640473</c:v>
                </c:pt>
                <c:pt idx="54">
                  <c:v>149.91110610704246</c:v>
                </c:pt>
                <c:pt idx="55">
                  <c:v>150.7318536160756</c:v>
                </c:pt>
                <c:pt idx="56">
                  <c:v>151.54257260889349</c:v>
                </c:pt>
                <c:pt idx="57">
                  <c:v>152.34204780157077</c:v>
                </c:pt>
                <c:pt idx="58">
                  <c:v>153.13163468007917</c:v>
                </c:pt>
                <c:pt idx="59">
                  <c:v>153.91148798783675</c:v>
                </c:pt>
                <c:pt idx="60">
                  <c:v>154.6818869122788</c:v>
                </c:pt>
                <c:pt idx="61">
                  <c:v>155.44271334084493</c:v>
                </c:pt>
                <c:pt idx="62">
                  <c:v>156.1941225767207</c:v>
                </c:pt>
                <c:pt idx="63">
                  <c:v>156.93618218593795</c:v>
                </c:pt>
                <c:pt idx="64">
                  <c:v>157.66896230632094</c:v>
                </c:pt>
                <c:pt idx="65">
                  <c:v>158.39392162747419</c:v>
                </c:pt>
                <c:pt idx="66">
                  <c:v>159.11001100118469</c:v>
                </c:pt>
                <c:pt idx="67">
                  <c:v>159.81712689912797</c:v>
                </c:pt>
                <c:pt idx="68">
                  <c:v>160.51668417092498</c:v>
                </c:pt>
                <c:pt idx="69">
                  <c:v>161.20762197864934</c:v>
                </c:pt>
                <c:pt idx="70">
                  <c:v>161.89120365932391</c:v>
                </c:pt>
                <c:pt idx="71">
                  <c:v>162.56634488751163</c:v>
                </c:pt>
                <c:pt idx="72">
                  <c:v>163.23428908083483</c:v>
                </c:pt>
                <c:pt idx="73">
                  <c:v>163.8939160930222</c:v>
                </c:pt>
                <c:pt idx="74">
                  <c:v>164.54646142349122</c:v>
                </c:pt>
                <c:pt idx="75">
                  <c:v>165.19217752786142</c:v>
                </c:pt>
                <c:pt idx="76">
                  <c:v>165.82978808839115</c:v>
                </c:pt>
                <c:pt idx="77">
                  <c:v>166.46186883402399</c:v>
                </c:pt>
                <c:pt idx="78">
                  <c:v>167.08617221973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CD-45F7-91F0-64CD8D6CA0F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27.35316158940314</c:v>
                </c:pt>
                <c:pt idx="32">
                  <c:v>128.686763613067</c:v>
                </c:pt>
                <c:pt idx="33">
                  <c:v>129.9879207923874</c:v>
                </c:pt>
                <c:pt idx="34">
                  <c:v>131.24414289363227</c:v>
                </c:pt>
                <c:pt idx="35">
                  <c:v>132.48292042292317</c:v>
                </c:pt>
                <c:pt idx="36">
                  <c:v>133.73708280576273</c:v>
                </c:pt>
                <c:pt idx="37">
                  <c:v>135.02491847120106</c:v>
                </c:pt>
                <c:pt idx="38">
                  <c:v>136.34800232991066</c:v>
                </c:pt>
                <c:pt idx="39">
                  <c:v>137.69064876905489</c:v>
                </c:pt>
                <c:pt idx="40">
                  <c:v>139.04559340231012</c:v>
                </c:pt>
                <c:pt idx="41">
                  <c:v>140.41766763995486</c:v>
                </c:pt>
                <c:pt idx="42">
                  <c:v>141.8187665132242</c:v>
                </c:pt>
                <c:pt idx="43">
                  <c:v>143.25439209093352</c:v>
                </c:pt>
                <c:pt idx="44">
                  <c:v>144.72218002489251</c:v>
                </c:pt>
                <c:pt idx="45">
                  <c:v>146.21729808700127</c:v>
                </c:pt>
                <c:pt idx="46">
                  <c:v>147.73731348753114</c:v>
                </c:pt>
                <c:pt idx="47">
                  <c:v>149.28731234816837</c:v>
                </c:pt>
                <c:pt idx="48">
                  <c:v>150.87076219404324</c:v>
                </c:pt>
                <c:pt idx="49">
                  <c:v>152.48826846974134</c:v>
                </c:pt>
                <c:pt idx="50">
                  <c:v>154.14003873862845</c:v>
                </c:pt>
                <c:pt idx="51">
                  <c:v>155.82345958273362</c:v>
                </c:pt>
                <c:pt idx="52">
                  <c:v>157.53770187476724</c:v>
                </c:pt>
                <c:pt idx="53">
                  <c:v>159.28720827827144</c:v>
                </c:pt>
                <c:pt idx="54">
                  <c:v>161.07440680050632</c:v>
                </c:pt>
                <c:pt idx="55">
                  <c:v>162.89824298187358</c:v>
                </c:pt>
                <c:pt idx="56">
                  <c:v>164.75770469241536</c:v>
                </c:pt>
                <c:pt idx="57">
                  <c:v>166.65417423364212</c:v>
                </c:pt>
                <c:pt idx="58">
                  <c:v>168.58822953343747</c:v>
                </c:pt>
                <c:pt idx="59">
                  <c:v>170.56010942815317</c:v>
                </c:pt>
                <c:pt idx="60">
                  <c:v>172.57300761520992</c:v>
                </c:pt>
                <c:pt idx="61">
                  <c:v>174.62474979517256</c:v>
                </c:pt>
                <c:pt idx="62">
                  <c:v>176.71804555363784</c:v>
                </c:pt>
                <c:pt idx="63">
                  <c:v>178.85221778739052</c:v>
                </c:pt>
                <c:pt idx="64">
                  <c:v>181.02876759246925</c:v>
                </c:pt>
                <c:pt idx="65">
                  <c:v>183.2482155846447</c:v>
                </c:pt>
                <c:pt idx="66">
                  <c:v>185.51232603955623</c:v>
                </c:pt>
                <c:pt idx="67">
                  <c:v>187.82032324099458</c:v>
                </c:pt>
                <c:pt idx="68">
                  <c:v>190.17373613996537</c:v>
                </c:pt>
                <c:pt idx="69">
                  <c:v>192.57172972523801</c:v>
                </c:pt>
                <c:pt idx="70">
                  <c:v>195.01714246874013</c:v>
                </c:pt>
                <c:pt idx="71">
                  <c:v>197.51075556694576</c:v>
                </c:pt>
                <c:pt idx="72">
                  <c:v>200.05160559050955</c:v>
                </c:pt>
                <c:pt idx="73">
                  <c:v>202.64255163337549</c:v>
                </c:pt>
                <c:pt idx="74">
                  <c:v>205.28437518260068</c:v>
                </c:pt>
                <c:pt idx="75">
                  <c:v>207.97616418129854</c:v>
                </c:pt>
                <c:pt idx="76">
                  <c:v>210.71945029799303</c:v>
                </c:pt>
                <c:pt idx="77">
                  <c:v>213.51619007008077</c:v>
                </c:pt>
                <c:pt idx="78">
                  <c:v>216.367040023415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CD-45F7-91F0-64CD8D6CA0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2</c:v>
                </c:pt>
                <c:pt idx="2">
                  <c:v>6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7</c:v>
                </c:pt>
                <c:pt idx="7">
                  <c:v>17</c:v>
                </c:pt>
                <c:pt idx="8">
                  <c:v>22</c:v>
                </c:pt>
                <c:pt idx="9">
                  <c:v>26</c:v>
                </c:pt>
                <c:pt idx="10">
                  <c:v>28</c:v>
                </c:pt>
                <c:pt idx="11">
                  <c:v>31</c:v>
                </c:pt>
                <c:pt idx="12">
                  <c:v>34</c:v>
                </c:pt>
                <c:pt idx="13">
                  <c:v>36</c:v>
                </c:pt>
                <c:pt idx="14">
                  <c:v>36</c:v>
                </c:pt>
                <c:pt idx="15">
                  <c:v>36</c:v>
                </c:pt>
                <c:pt idx="16">
                  <c:v>38</c:v>
                </c:pt>
                <c:pt idx="17">
                  <c:v>39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9</c:v>
                </c:pt>
                <c:pt idx="22">
                  <c:v>40</c:v>
                </c:pt>
                <c:pt idx="23">
                  <c:v>41</c:v>
                </c:pt>
                <c:pt idx="24">
                  <c:v>41</c:v>
                </c:pt>
                <c:pt idx="25">
                  <c:v>42</c:v>
                </c:pt>
                <c:pt idx="26">
                  <c:v>43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  <c:pt idx="30">
                  <c:v>43</c:v>
                </c:pt>
                <c:pt idx="31">
                  <c:v>43</c:v>
                </c:pt>
                <c:pt idx="32">
                  <c:v>44</c:v>
                </c:pt>
                <c:pt idx="33">
                  <c:v>44</c:v>
                </c:pt>
                <c:pt idx="34">
                  <c:v>45</c:v>
                </c:pt>
                <c:pt idx="35">
                  <c:v>45</c:v>
                </c:pt>
                <c:pt idx="36">
                  <c:v>45</c:v>
                </c:pt>
                <c:pt idx="37">
                  <c:v>45</c:v>
                </c:pt>
                <c:pt idx="38">
                  <c:v>45</c:v>
                </c:pt>
                <c:pt idx="39">
                  <c:v>46</c:v>
                </c:pt>
                <c:pt idx="40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3.233066817904877</c:v>
                </c:pt>
                <c:pt idx="32">
                  <c:v>43.44982049733904</c:v>
                </c:pt>
                <c:pt idx="33">
                  <c:v>43.651947422465909</c:v>
                </c:pt>
                <c:pt idx="34">
                  <c:v>43.839997201845136</c:v>
                </c:pt>
                <c:pt idx="35">
                  <c:v>44.01624810016645</c:v>
                </c:pt>
                <c:pt idx="36">
                  <c:v>44.183621955422851</c:v>
                </c:pt>
                <c:pt idx="37">
                  <c:v>44.343328111224515</c:v>
                </c:pt>
                <c:pt idx="38">
                  <c:v>44.495178098235336</c:v>
                </c:pt>
                <c:pt idx="39">
                  <c:v>44.639690563176615</c:v>
                </c:pt>
                <c:pt idx="40">
                  <c:v>44.776364495663728</c:v>
                </c:pt>
                <c:pt idx="41">
                  <c:v>44.905500771096207</c:v>
                </c:pt>
                <c:pt idx="42">
                  <c:v>45.027526041476541</c:v>
                </c:pt>
                <c:pt idx="43">
                  <c:v>45.142920521540404</c:v>
                </c:pt>
                <c:pt idx="44">
                  <c:v>45.252672515182681</c:v>
                </c:pt>
                <c:pt idx="45">
                  <c:v>45.356422358253518</c:v>
                </c:pt>
                <c:pt idx="46">
                  <c:v>45.454967616202154</c:v>
                </c:pt>
                <c:pt idx="47">
                  <c:v>45.548284947416107</c:v>
                </c:pt>
                <c:pt idx="48">
                  <c:v>45.636705440305711</c:v>
                </c:pt>
                <c:pt idx="49">
                  <c:v>45.720804579469785</c:v>
                </c:pt>
                <c:pt idx="50">
                  <c:v>45.800827913534476</c:v>
                </c:pt>
                <c:pt idx="51">
                  <c:v>45.876906152890434</c:v>
                </c:pt>
                <c:pt idx="52">
                  <c:v>45.9492846437496</c:v>
                </c:pt>
                <c:pt idx="53">
                  <c:v>46.018202385142253</c:v>
                </c:pt>
                <c:pt idx="54">
                  <c:v>46.083824151840169</c:v>
                </c:pt>
                <c:pt idx="55">
                  <c:v>46.146409884752224</c:v>
                </c:pt>
                <c:pt idx="56">
                  <c:v>46.206153916328894</c:v>
                </c:pt>
                <c:pt idx="57">
                  <c:v>46.263172687031748</c:v>
                </c:pt>
                <c:pt idx="58">
                  <c:v>46.317592282806864</c:v>
                </c:pt>
                <c:pt idx="59">
                  <c:v>46.369932702988642</c:v>
                </c:pt>
                <c:pt idx="60">
                  <c:v>46.419933004434434</c:v>
                </c:pt>
                <c:pt idx="61">
                  <c:v>46.467798838479403</c:v>
                </c:pt>
                <c:pt idx="62">
                  <c:v>46.513649717643979</c:v>
                </c:pt>
                <c:pt idx="63">
                  <c:v>46.557796055002505</c:v>
                </c:pt>
                <c:pt idx="64">
                  <c:v>46.600110836483097</c:v>
                </c:pt>
                <c:pt idx="65">
                  <c:v>46.64086157708649</c:v>
                </c:pt>
                <c:pt idx="66">
                  <c:v>46.68013890678133</c:v>
                </c:pt>
                <c:pt idx="67">
                  <c:v>46.718241231954678</c:v>
                </c:pt>
                <c:pt idx="68">
                  <c:v>46.754798084128389</c:v>
                </c:pt>
                <c:pt idx="69">
                  <c:v>46.790261997746867</c:v>
                </c:pt>
                <c:pt idx="70">
                  <c:v>46.82451236065743</c:v>
                </c:pt>
                <c:pt idx="71">
                  <c:v>46.857565021883296</c:v>
                </c:pt>
                <c:pt idx="72">
                  <c:v>46.889692205304925</c:v>
                </c:pt>
                <c:pt idx="73">
                  <c:v>46.920728903722122</c:v>
                </c:pt>
                <c:pt idx="74">
                  <c:v>46.951145888481207</c:v>
                </c:pt>
                <c:pt idx="75">
                  <c:v>46.980575119400463</c:v>
                </c:pt>
                <c:pt idx="76">
                  <c:v>47.009219351175624</c:v>
                </c:pt>
                <c:pt idx="77">
                  <c:v>47.03689154405496</c:v>
                </c:pt>
                <c:pt idx="78">
                  <c:v>47.0640545194005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B4-4E8B-B0F6-D0B633CF853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B4-4E8B-B0F6-D0B633CF853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3.241671312034072</c:v>
                </c:pt>
                <c:pt idx="32">
                  <c:v>43.473135113912164</c:v>
                </c:pt>
                <c:pt idx="33">
                  <c:v>43.693993942405484</c:v>
                </c:pt>
                <c:pt idx="34">
                  <c:v>43.903642855896869</c:v>
                </c:pt>
                <c:pt idx="35">
                  <c:v>44.10518551805351</c:v>
                </c:pt>
                <c:pt idx="36">
                  <c:v>44.30292795552112</c:v>
                </c:pt>
                <c:pt idx="37">
                  <c:v>44.499064009611388</c:v>
                </c:pt>
                <c:pt idx="38">
                  <c:v>44.693252868017311</c:v>
                </c:pt>
                <c:pt idx="39">
                  <c:v>44.884787553283658</c:v>
                </c:pt>
                <c:pt idx="40">
                  <c:v>45.072680746083442</c:v>
                </c:pt>
                <c:pt idx="41">
                  <c:v>45.256784361820102</c:v>
                </c:pt>
                <c:pt idx="42">
                  <c:v>45.438061348840179</c:v>
                </c:pt>
                <c:pt idx="43">
                  <c:v>45.616986966818459</c:v>
                </c:pt>
                <c:pt idx="44">
                  <c:v>45.793985840745698</c:v>
                </c:pt>
                <c:pt idx="45">
                  <c:v>45.968257794323819</c:v>
                </c:pt>
                <c:pt idx="46">
                  <c:v>46.139905662298162</c:v>
                </c:pt>
                <c:pt idx="47">
                  <c:v>46.308889436572727</c:v>
                </c:pt>
                <c:pt idx="48">
                  <c:v>46.475641487800459</c:v>
                </c:pt>
                <c:pt idx="49">
                  <c:v>46.640182901574519</c:v>
                </c:pt>
                <c:pt idx="50">
                  <c:v>46.80255144443759</c:v>
                </c:pt>
                <c:pt idx="51">
                  <c:v>46.962977769292507</c:v>
                </c:pt>
                <c:pt idx="52">
                  <c:v>47.121150397873038</c:v>
                </c:pt>
                <c:pt idx="53">
                  <c:v>47.277116897216153</c:v>
                </c:pt>
                <c:pt idx="54">
                  <c:v>47.431159769525792</c:v>
                </c:pt>
                <c:pt idx="55">
                  <c:v>47.583251730176592</c:v>
                </c:pt>
                <c:pt idx="56">
                  <c:v>47.733474716547917</c:v>
                </c:pt>
                <c:pt idx="57">
                  <c:v>47.881629137418358</c:v>
                </c:pt>
                <c:pt idx="58">
                  <c:v>48.027959564659966</c:v>
                </c:pt>
                <c:pt idx="59">
                  <c:v>48.172472811432428</c:v>
                </c:pt>
                <c:pt idx="60">
                  <c:v>48.315236486297017</c:v>
                </c:pt>
                <c:pt idx="61">
                  <c:v>48.456221150012162</c:v>
                </c:pt>
                <c:pt idx="62">
                  <c:v>48.595458740239813</c:v>
                </c:pt>
                <c:pt idx="63">
                  <c:v>48.732963536676479</c:v>
                </c:pt>
                <c:pt idx="64">
                  <c:v>48.868749615587141</c:v>
                </c:pt>
                <c:pt idx="65">
                  <c:v>49.003070483971136</c:v>
                </c:pt>
                <c:pt idx="66">
                  <c:v>49.135747000914371</c:v>
                </c:pt>
                <c:pt idx="67">
                  <c:v>49.266764832273857</c:v>
                </c:pt>
                <c:pt idx="68">
                  <c:v>49.396369557342133</c:v>
                </c:pt>
                <c:pt idx="69">
                  <c:v>49.524379894987625</c:v>
                </c:pt>
                <c:pt idx="70">
                  <c:v>49.651017859631736</c:v>
                </c:pt>
                <c:pt idx="71">
                  <c:v>49.776097206314525</c:v>
                </c:pt>
                <c:pt idx="72">
                  <c:v>49.899835717875916</c:v>
                </c:pt>
                <c:pt idx="73">
                  <c:v>50.022040837428236</c:v>
                </c:pt>
                <c:pt idx="74">
                  <c:v>50.142928147578452</c:v>
                </c:pt>
                <c:pt idx="75">
                  <c:v>50.262541836864933</c:v>
                </c:pt>
                <c:pt idx="76">
                  <c:v>50.380663562417965</c:v>
                </c:pt>
                <c:pt idx="77">
                  <c:v>50.497740023605942</c:v>
                </c:pt>
                <c:pt idx="78">
                  <c:v>50.6133830467632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B4-4E8B-B0F6-D0B633CF853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3.250275806163117</c:v>
                </c:pt>
                <c:pt idx="32">
                  <c:v>43.496688744211021</c:v>
                </c:pt>
                <c:pt idx="33">
                  <c:v>43.736329569994396</c:v>
                </c:pt>
                <c:pt idx="34">
                  <c:v>43.967365519615555</c:v>
                </c:pt>
                <c:pt idx="35">
                  <c:v>44.195133013452228</c:v>
                </c:pt>
                <c:pt idx="36">
                  <c:v>44.42559886641115</c:v>
                </c:pt>
                <c:pt idx="37">
                  <c:v>44.662314784121257</c:v>
                </c:pt>
                <c:pt idx="38">
                  <c:v>44.905445923776497</c:v>
                </c:pt>
                <c:pt idx="39">
                  <c:v>45.15237438740462</c:v>
                </c:pt>
                <c:pt idx="40">
                  <c:v>45.401669331158757</c:v>
                </c:pt>
                <c:pt idx="41">
                  <c:v>45.654082368431865</c:v>
                </c:pt>
                <c:pt idx="42">
                  <c:v>45.911747332979189</c:v>
                </c:pt>
                <c:pt idx="43">
                  <c:v>46.175663424855038</c:v>
                </c:pt>
                <c:pt idx="44">
                  <c:v>46.445489883983072</c:v>
                </c:pt>
                <c:pt idx="45">
                  <c:v>46.720341467108852</c:v>
                </c:pt>
                <c:pt idx="46">
                  <c:v>46.999832173716541</c:v>
                </c:pt>
                <c:pt idx="47">
                  <c:v>47.284812191615217</c:v>
                </c:pt>
                <c:pt idx="48">
                  <c:v>47.575894611169872</c:v>
                </c:pt>
                <c:pt idx="49">
                  <c:v>47.87319262313374</c:v>
                </c:pt>
                <c:pt idx="50">
                  <c:v>48.176795368713677</c:v>
                </c:pt>
                <c:pt idx="51">
                  <c:v>48.486266920474328</c:v>
                </c:pt>
                <c:pt idx="52">
                  <c:v>48.801432005295389</c:v>
                </c:pt>
                <c:pt idx="53">
                  <c:v>49.123067742098002</c:v>
                </c:pt>
                <c:pt idx="54">
                  <c:v>49.451608195516116</c:v>
                </c:pt>
                <c:pt idx="55">
                  <c:v>49.78685901350574</c:v>
                </c:pt>
                <c:pt idx="56">
                  <c:v>50.128671173523109</c:v>
                </c:pt>
                <c:pt idx="57">
                  <c:v>50.477297296230788</c:v>
                </c:pt>
                <c:pt idx="58">
                  <c:v>50.832851272247964</c:v>
                </c:pt>
                <c:pt idx="59">
                  <c:v>51.195364008867635</c:v>
                </c:pt>
                <c:pt idx="60">
                  <c:v>51.565409746956867</c:v>
                </c:pt>
                <c:pt idx="61">
                  <c:v>51.942609811806172</c:v>
                </c:pt>
                <c:pt idx="62">
                  <c:v>52.327445046307368</c:v>
                </c:pt>
                <c:pt idx="63">
                  <c:v>52.719804055190096</c:v>
                </c:pt>
                <c:pt idx="64">
                  <c:v>53.119954937149174</c:v>
                </c:pt>
                <c:pt idx="65">
                  <c:v>53.52799551493348</c:v>
                </c:pt>
                <c:pt idx="66">
                  <c:v>53.944239214031882</c:v>
                </c:pt>
                <c:pt idx="67">
                  <c:v>54.368561863776343</c:v>
                </c:pt>
                <c:pt idx="68">
                  <c:v>54.80123746357085</c:v>
                </c:pt>
                <c:pt idx="69">
                  <c:v>55.242131259723323</c:v>
                </c:pt>
                <c:pt idx="70">
                  <c:v>55.691742304030811</c:v>
                </c:pt>
                <c:pt idx="71">
                  <c:v>56.150212819760512</c:v>
                </c:pt>
                <c:pt idx="72">
                  <c:v>56.61738654997967</c:v>
                </c:pt>
                <c:pt idx="73">
                  <c:v>57.093765991372351</c:v>
                </c:pt>
                <c:pt idx="74">
                  <c:v>57.579492787310549</c:v>
                </c:pt>
                <c:pt idx="75">
                  <c:v>58.074421801647837</c:v>
                </c:pt>
                <c:pt idx="76">
                  <c:v>58.578828119541285</c:v>
                </c:pt>
                <c:pt idx="77">
                  <c:v>59.09305816296785</c:v>
                </c:pt>
                <c:pt idx="78">
                  <c:v>59.617236926443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B4-4E8B-B0F6-D0B633CF8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0</c:v>
                </c:pt>
                <c:pt idx="2">
                  <c:v>18</c:v>
                </c:pt>
                <c:pt idx="3">
                  <c:v>22</c:v>
                </c:pt>
                <c:pt idx="4">
                  <c:v>30</c:v>
                </c:pt>
                <c:pt idx="5">
                  <c:v>36</c:v>
                </c:pt>
                <c:pt idx="6">
                  <c:v>41</c:v>
                </c:pt>
                <c:pt idx="7">
                  <c:v>45</c:v>
                </c:pt>
                <c:pt idx="8">
                  <c:v>51</c:v>
                </c:pt>
                <c:pt idx="9">
                  <c:v>56</c:v>
                </c:pt>
                <c:pt idx="10">
                  <c:v>58</c:v>
                </c:pt>
                <c:pt idx="11">
                  <c:v>67</c:v>
                </c:pt>
                <c:pt idx="12">
                  <c:v>76</c:v>
                </c:pt>
                <c:pt idx="13">
                  <c:v>78</c:v>
                </c:pt>
                <c:pt idx="14">
                  <c:v>81</c:v>
                </c:pt>
                <c:pt idx="15">
                  <c:v>83</c:v>
                </c:pt>
                <c:pt idx="16">
                  <c:v>88</c:v>
                </c:pt>
                <c:pt idx="17">
                  <c:v>91</c:v>
                </c:pt>
                <c:pt idx="18">
                  <c:v>95</c:v>
                </c:pt>
                <c:pt idx="19">
                  <c:v>98</c:v>
                </c:pt>
                <c:pt idx="20">
                  <c:v>99</c:v>
                </c:pt>
                <c:pt idx="21">
                  <c:v>101</c:v>
                </c:pt>
                <c:pt idx="22">
                  <c:v>105</c:v>
                </c:pt>
                <c:pt idx="23">
                  <c:v>105</c:v>
                </c:pt>
                <c:pt idx="24">
                  <c:v>105</c:v>
                </c:pt>
                <c:pt idx="25">
                  <c:v>106</c:v>
                </c:pt>
                <c:pt idx="26">
                  <c:v>108</c:v>
                </c:pt>
                <c:pt idx="27">
                  <c:v>109</c:v>
                </c:pt>
                <c:pt idx="28">
                  <c:v>109</c:v>
                </c:pt>
                <c:pt idx="29">
                  <c:v>111</c:v>
                </c:pt>
                <c:pt idx="30">
                  <c:v>114</c:v>
                </c:pt>
                <c:pt idx="31">
                  <c:v>117</c:v>
                </c:pt>
                <c:pt idx="32">
                  <c:v>119</c:v>
                </c:pt>
                <c:pt idx="33">
                  <c:v>121</c:v>
                </c:pt>
                <c:pt idx="34">
                  <c:v>121</c:v>
                </c:pt>
                <c:pt idx="35">
                  <c:v>122</c:v>
                </c:pt>
                <c:pt idx="36">
                  <c:v>122</c:v>
                </c:pt>
                <c:pt idx="37">
                  <c:v>123</c:v>
                </c:pt>
                <c:pt idx="38">
                  <c:v>124</c:v>
                </c:pt>
                <c:pt idx="39">
                  <c:v>124</c:v>
                </c:pt>
                <c:pt idx="40">
                  <c:v>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15.40015592415791</c:v>
                </c:pt>
                <c:pt idx="32">
                  <c:v>116.69208629183088</c:v>
                </c:pt>
                <c:pt idx="33">
                  <c:v>117.90083224085693</c:v>
                </c:pt>
                <c:pt idx="34">
                  <c:v>119.0272365003958</c:v>
                </c:pt>
                <c:pt idx="35">
                  <c:v>120.08035162519009</c:v>
                </c:pt>
                <c:pt idx="36">
                  <c:v>121.07857086480634</c:v>
                </c:pt>
                <c:pt idx="37">
                  <c:v>122.02624097757385</c:v>
                </c:pt>
                <c:pt idx="38">
                  <c:v>122.9249850697028</c:v>
                </c:pt>
                <c:pt idx="39">
                  <c:v>123.77760736319081</c:v>
                </c:pt>
                <c:pt idx="40">
                  <c:v>124.58345230393471</c:v>
                </c:pt>
                <c:pt idx="41">
                  <c:v>125.34556858747803</c:v>
                </c:pt>
                <c:pt idx="42">
                  <c:v>126.0655603658454</c:v>
                </c:pt>
                <c:pt idx="43">
                  <c:v>126.74617279770831</c:v>
                </c:pt>
                <c:pt idx="44">
                  <c:v>127.39339451641193</c:v>
                </c:pt>
                <c:pt idx="45">
                  <c:v>128.00529611400393</c:v>
                </c:pt>
                <c:pt idx="46">
                  <c:v>128.58660675942471</c:v>
                </c:pt>
                <c:pt idx="47">
                  <c:v>129.13737724700786</c:v>
                </c:pt>
                <c:pt idx="48">
                  <c:v>129.65939510215233</c:v>
                </c:pt>
                <c:pt idx="49">
                  <c:v>130.15656531477183</c:v>
                </c:pt>
                <c:pt idx="50">
                  <c:v>130.62968974606031</c:v>
                </c:pt>
                <c:pt idx="51">
                  <c:v>131.07923873922428</c:v>
                </c:pt>
                <c:pt idx="52">
                  <c:v>131.50726118208564</c:v>
                </c:pt>
                <c:pt idx="53">
                  <c:v>131.91504324931628</c:v>
                </c:pt>
                <c:pt idx="54">
                  <c:v>132.30330833515168</c:v>
                </c:pt>
                <c:pt idx="55">
                  <c:v>132.67404297495062</c:v>
                </c:pt>
                <c:pt idx="56">
                  <c:v>133.02815343471764</c:v>
                </c:pt>
                <c:pt idx="57">
                  <c:v>133.36615625589721</c:v>
                </c:pt>
                <c:pt idx="58">
                  <c:v>133.68864036996121</c:v>
                </c:pt>
                <c:pt idx="59">
                  <c:v>133.99945164909252</c:v>
                </c:pt>
                <c:pt idx="60">
                  <c:v>134.29629986971531</c:v>
                </c:pt>
                <c:pt idx="61">
                  <c:v>134.58061571192832</c:v>
                </c:pt>
                <c:pt idx="62">
                  <c:v>134.85305753077921</c:v>
                </c:pt>
                <c:pt idx="63">
                  <c:v>135.11567968157308</c:v>
                </c:pt>
                <c:pt idx="64">
                  <c:v>135.36743011220821</c:v>
                </c:pt>
                <c:pt idx="65">
                  <c:v>135.61007121367405</c:v>
                </c:pt>
                <c:pt idx="66">
                  <c:v>135.8441408408315</c:v>
                </c:pt>
                <c:pt idx="67">
                  <c:v>136.07164278890863</c:v>
                </c:pt>
                <c:pt idx="68">
                  <c:v>136.28981947182294</c:v>
                </c:pt>
                <c:pt idx="69">
                  <c:v>136.50175991314683</c:v>
                </c:pt>
                <c:pt idx="70">
                  <c:v>136.70652710214713</c:v>
                </c:pt>
                <c:pt idx="71">
                  <c:v>136.90410679164765</c:v>
                </c:pt>
                <c:pt idx="72">
                  <c:v>137.09635132676817</c:v>
                </c:pt>
                <c:pt idx="73">
                  <c:v>137.28203409942552</c:v>
                </c:pt>
                <c:pt idx="74">
                  <c:v>137.46441454316781</c:v>
                </c:pt>
                <c:pt idx="75">
                  <c:v>137.64084643204274</c:v>
                </c:pt>
                <c:pt idx="76">
                  <c:v>137.81267564225939</c:v>
                </c:pt>
                <c:pt idx="77">
                  <c:v>137.97854034315972</c:v>
                </c:pt>
                <c:pt idx="78">
                  <c:v>138.14166958956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0F-45DC-BBB9-2D58004A545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0F-45DC-BBB9-2D58004A545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15.46129527672417</c:v>
                </c:pt>
                <c:pt idx="32">
                  <c:v>116.85761681713117</c:v>
                </c:pt>
                <c:pt idx="33">
                  <c:v>118.19788558148332</c:v>
                </c:pt>
                <c:pt idx="34">
                  <c:v>119.47384228849708</c:v>
                </c:pt>
                <c:pt idx="35">
                  <c:v>120.6994437581545</c:v>
                </c:pt>
                <c:pt idx="36">
                  <c:v>121.90179294193919</c:v>
                </c:pt>
                <c:pt idx="37">
                  <c:v>123.09143522079317</c:v>
                </c:pt>
                <c:pt idx="38">
                  <c:v>124.26833807597771</c:v>
                </c:pt>
                <c:pt idx="39">
                  <c:v>125.42652881937288</c:v>
                </c:pt>
                <c:pt idx="40">
                  <c:v>126.5620333177318</c:v>
                </c:pt>
                <c:pt idx="41">
                  <c:v>127.67507234390315</c:v>
                </c:pt>
                <c:pt idx="42">
                  <c:v>128.7713636685254</c:v>
                </c:pt>
                <c:pt idx="43">
                  <c:v>129.8538203485142</c:v>
                </c:pt>
                <c:pt idx="44">
                  <c:v>130.92464324731193</c:v>
                </c:pt>
                <c:pt idx="45">
                  <c:v>131.9790527368155</c:v>
                </c:pt>
                <c:pt idx="46">
                  <c:v>133.01723059841981</c:v>
                </c:pt>
                <c:pt idx="47">
                  <c:v>134.03941223074338</c:v>
                </c:pt>
                <c:pt idx="48">
                  <c:v>135.04847393494921</c:v>
                </c:pt>
                <c:pt idx="49">
                  <c:v>136.04461810229714</c:v>
                </c:pt>
                <c:pt idx="50">
                  <c:v>137.02741601078867</c:v>
                </c:pt>
                <c:pt idx="51">
                  <c:v>137.99834469226641</c:v>
                </c:pt>
                <c:pt idx="52">
                  <c:v>138.95575917628693</c:v>
                </c:pt>
                <c:pt idx="53">
                  <c:v>139.89981036033006</c:v>
                </c:pt>
                <c:pt idx="54">
                  <c:v>140.83231373039405</c:v>
                </c:pt>
                <c:pt idx="55">
                  <c:v>141.75339117570121</c:v>
                </c:pt>
                <c:pt idx="56">
                  <c:v>142.66329990501441</c:v>
                </c:pt>
                <c:pt idx="57">
                  <c:v>143.56046897223354</c:v>
                </c:pt>
                <c:pt idx="58">
                  <c:v>144.44647302666397</c:v>
                </c:pt>
                <c:pt idx="59">
                  <c:v>145.32166251016167</c:v>
                </c:pt>
                <c:pt idx="60">
                  <c:v>146.18622238953577</c:v>
                </c:pt>
                <c:pt idx="61">
                  <c:v>147.04008118021943</c:v>
                </c:pt>
                <c:pt idx="62">
                  <c:v>147.88338762912196</c:v>
                </c:pt>
                <c:pt idx="63">
                  <c:v>148.71620333726378</c:v>
                </c:pt>
                <c:pt idx="64">
                  <c:v>149.53859829052433</c:v>
                </c:pt>
                <c:pt idx="65">
                  <c:v>150.35234535161408</c:v>
                </c:pt>
                <c:pt idx="66">
                  <c:v>151.15614359915921</c:v>
                </c:pt>
                <c:pt idx="67">
                  <c:v>151.94983762639674</c:v>
                </c:pt>
                <c:pt idx="68">
                  <c:v>152.73514951012308</c:v>
                </c:pt>
                <c:pt idx="69">
                  <c:v>153.51076500009492</c:v>
                </c:pt>
                <c:pt idx="70">
                  <c:v>154.27819965603362</c:v>
                </c:pt>
                <c:pt idx="71">
                  <c:v>155.03611781276308</c:v>
                </c:pt>
                <c:pt idx="72">
                  <c:v>155.78601704488088</c:v>
                </c:pt>
                <c:pt idx="73">
                  <c:v>156.52651885147472</c:v>
                </c:pt>
                <c:pt idx="74">
                  <c:v>157.25911784752373</c:v>
                </c:pt>
                <c:pt idx="75">
                  <c:v>157.98411832319459</c:v>
                </c:pt>
                <c:pt idx="76">
                  <c:v>158.69994101140401</c:v>
                </c:pt>
                <c:pt idx="77">
                  <c:v>159.4097239948355</c:v>
                </c:pt>
                <c:pt idx="78">
                  <c:v>160.11071600806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0F-45DC-BBB9-2D58004A545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15.52243462928922</c:v>
                </c:pt>
                <c:pt idx="32">
                  <c:v>117.02484565777952</c:v>
                </c:pt>
                <c:pt idx="33">
                  <c:v>118.496989519233</c:v>
                </c:pt>
                <c:pt idx="34">
                  <c:v>119.92095329538633</c:v>
                </c:pt>
                <c:pt idx="35">
                  <c:v>121.3256296719867</c:v>
                </c:pt>
                <c:pt idx="36">
                  <c:v>122.74880548498454</c:v>
                </c:pt>
                <c:pt idx="37">
                  <c:v>124.20968920464981</c:v>
                </c:pt>
                <c:pt idx="38">
                  <c:v>125.71107268784898</c:v>
                </c:pt>
                <c:pt idx="39">
                  <c:v>127.23301767592372</c:v>
                </c:pt>
                <c:pt idx="40">
                  <c:v>128.7680565661669</c:v>
                </c:pt>
                <c:pt idx="41">
                  <c:v>130.32277328411362</c:v>
                </c:pt>
                <c:pt idx="42">
                  <c:v>131.91108639384206</c:v>
                </c:pt>
                <c:pt idx="43">
                  <c:v>133.53933537180828</c:v>
                </c:pt>
                <c:pt idx="44">
                  <c:v>135.20407945164831</c:v>
                </c:pt>
                <c:pt idx="45">
                  <c:v>136.89981312327828</c:v>
                </c:pt>
                <c:pt idx="46">
                  <c:v>138.62328207985644</c:v>
                </c:pt>
                <c:pt idx="47">
                  <c:v>140.38094067334575</c:v>
                </c:pt>
                <c:pt idx="48">
                  <c:v>142.17691863544658</c:v>
                </c:pt>
                <c:pt idx="49">
                  <c:v>144.01188736467176</c:v>
                </c:pt>
                <c:pt idx="50">
                  <c:v>145.885670005945</c:v>
                </c:pt>
                <c:pt idx="51">
                  <c:v>147.79494260125946</c:v>
                </c:pt>
                <c:pt idx="52">
                  <c:v>149.73894956001865</c:v>
                </c:pt>
                <c:pt idx="53">
                  <c:v>151.72304978022925</c:v>
                </c:pt>
                <c:pt idx="54">
                  <c:v>153.7500963789638</c:v>
                </c:pt>
                <c:pt idx="55">
                  <c:v>155.81889751569986</c:v>
                </c:pt>
                <c:pt idx="56">
                  <c:v>157.92800573904819</c:v>
                </c:pt>
                <c:pt idx="57">
                  <c:v>160.07900088933388</c:v>
                </c:pt>
                <c:pt idx="58">
                  <c:v>162.27247659307233</c:v>
                </c:pt>
                <c:pt idx="59">
                  <c:v>164.50880884345452</c:v>
                </c:pt>
                <c:pt idx="60">
                  <c:v>166.79172389981267</c:v>
                </c:pt>
                <c:pt idx="61">
                  <c:v>169.11858564015745</c:v>
                </c:pt>
                <c:pt idx="62">
                  <c:v>171.49260685232406</c:v>
                </c:pt>
                <c:pt idx="63">
                  <c:v>173.91291382412419</c:v>
                </c:pt>
                <c:pt idx="64">
                  <c:v>176.3812725609028</c:v>
                </c:pt>
                <c:pt idx="65">
                  <c:v>178.8982564200378</c:v>
                </c:pt>
                <c:pt idx="66">
                  <c:v>181.4659545970965</c:v>
                </c:pt>
                <c:pt idx="67">
                  <c:v>184.08333825034606</c:v>
                </c:pt>
                <c:pt idx="68">
                  <c:v>186.75219867000013</c:v>
                </c:pt>
                <c:pt idx="69">
                  <c:v>189.47143719699892</c:v>
                </c:pt>
                <c:pt idx="70">
                  <c:v>192.24445714927663</c:v>
                </c:pt>
                <c:pt idx="71">
                  <c:v>195.07215575358745</c:v>
                </c:pt>
                <c:pt idx="72">
                  <c:v>197.95327168649968</c:v>
                </c:pt>
                <c:pt idx="73">
                  <c:v>200.89123445378345</c:v>
                </c:pt>
                <c:pt idx="74">
                  <c:v>203.8869467328733</c:v>
                </c:pt>
                <c:pt idx="75">
                  <c:v>206.93919190662999</c:v>
                </c:pt>
                <c:pt idx="76">
                  <c:v>210.04975960741507</c:v>
                </c:pt>
                <c:pt idx="77">
                  <c:v>213.22097607276473</c:v>
                </c:pt>
                <c:pt idx="78">
                  <c:v>216.4535511216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0F-45DC-BBB9-2D58004A5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3</c:v>
                </c:pt>
                <c:pt idx="1">
                  <c:v>18</c:v>
                </c:pt>
                <c:pt idx="2">
                  <c:v>32</c:v>
                </c:pt>
                <c:pt idx="3">
                  <c:v>37</c:v>
                </c:pt>
                <c:pt idx="4">
                  <c:v>45</c:v>
                </c:pt>
                <c:pt idx="5">
                  <c:v>53</c:v>
                </c:pt>
                <c:pt idx="6">
                  <c:v>59</c:v>
                </c:pt>
                <c:pt idx="7">
                  <c:v>61</c:v>
                </c:pt>
                <c:pt idx="8">
                  <c:v>65</c:v>
                </c:pt>
                <c:pt idx="9">
                  <c:v>70</c:v>
                </c:pt>
                <c:pt idx="10">
                  <c:v>74</c:v>
                </c:pt>
                <c:pt idx="11">
                  <c:v>82</c:v>
                </c:pt>
                <c:pt idx="12">
                  <c:v>91</c:v>
                </c:pt>
                <c:pt idx="13">
                  <c:v>94</c:v>
                </c:pt>
                <c:pt idx="14">
                  <c:v>95</c:v>
                </c:pt>
                <c:pt idx="15">
                  <c:v>98</c:v>
                </c:pt>
                <c:pt idx="16">
                  <c:v>103</c:v>
                </c:pt>
                <c:pt idx="17">
                  <c:v>105</c:v>
                </c:pt>
                <c:pt idx="18">
                  <c:v>106</c:v>
                </c:pt>
                <c:pt idx="19">
                  <c:v>110</c:v>
                </c:pt>
                <c:pt idx="20">
                  <c:v>117</c:v>
                </c:pt>
                <c:pt idx="21">
                  <c:v>119</c:v>
                </c:pt>
                <c:pt idx="22">
                  <c:v>122</c:v>
                </c:pt>
                <c:pt idx="23">
                  <c:v>124</c:v>
                </c:pt>
                <c:pt idx="24">
                  <c:v>126</c:v>
                </c:pt>
                <c:pt idx="25">
                  <c:v>130</c:v>
                </c:pt>
                <c:pt idx="26">
                  <c:v>132</c:v>
                </c:pt>
                <c:pt idx="27">
                  <c:v>137</c:v>
                </c:pt>
                <c:pt idx="28">
                  <c:v>138</c:v>
                </c:pt>
                <c:pt idx="29">
                  <c:v>139</c:v>
                </c:pt>
                <c:pt idx="30">
                  <c:v>141</c:v>
                </c:pt>
                <c:pt idx="31">
                  <c:v>142</c:v>
                </c:pt>
                <c:pt idx="32">
                  <c:v>148</c:v>
                </c:pt>
                <c:pt idx="33">
                  <c:v>149</c:v>
                </c:pt>
                <c:pt idx="34">
                  <c:v>150</c:v>
                </c:pt>
                <c:pt idx="35">
                  <c:v>152</c:v>
                </c:pt>
                <c:pt idx="36">
                  <c:v>153</c:v>
                </c:pt>
                <c:pt idx="37">
                  <c:v>154</c:v>
                </c:pt>
                <c:pt idx="38">
                  <c:v>155</c:v>
                </c:pt>
                <c:pt idx="39">
                  <c:v>155</c:v>
                </c:pt>
                <c:pt idx="40">
                  <c:v>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42.07864989489676</c:v>
                </c:pt>
                <c:pt idx="32">
                  <c:v>143.07763114942591</c:v>
                </c:pt>
                <c:pt idx="33">
                  <c:v>144.01083023532465</c:v>
                </c:pt>
                <c:pt idx="34">
                  <c:v>144.87978774233738</c:v>
                </c:pt>
                <c:pt idx="35">
                  <c:v>145.69315738103211</c:v>
                </c:pt>
                <c:pt idx="36">
                  <c:v>146.4648043477826</c:v>
                </c:pt>
                <c:pt idx="37">
                  <c:v>147.19913516726905</c:v>
                </c:pt>
                <c:pt idx="38">
                  <c:v>147.89640147919388</c:v>
                </c:pt>
                <c:pt idx="39">
                  <c:v>148.55887653242954</c:v>
                </c:pt>
                <c:pt idx="40">
                  <c:v>149.18520191387267</c:v>
                </c:pt>
                <c:pt idx="41">
                  <c:v>149.77727636616106</c:v>
                </c:pt>
                <c:pt idx="42">
                  <c:v>150.33668330533652</c:v>
                </c:pt>
                <c:pt idx="43">
                  <c:v>150.86558819794598</c:v>
                </c:pt>
                <c:pt idx="44">
                  <c:v>151.36858593778294</c:v>
                </c:pt>
                <c:pt idx="45">
                  <c:v>151.84410631348788</c:v>
                </c:pt>
                <c:pt idx="46">
                  <c:v>152.29581513188978</c:v>
                </c:pt>
                <c:pt idx="47">
                  <c:v>152.72368228229749</c:v>
                </c:pt>
                <c:pt idx="48">
                  <c:v>153.12915787549102</c:v>
                </c:pt>
                <c:pt idx="49">
                  <c:v>153.51508792973917</c:v>
                </c:pt>
                <c:pt idx="50">
                  <c:v>153.88233423444507</c:v>
                </c:pt>
                <c:pt idx="51">
                  <c:v>154.23137327920159</c:v>
                </c:pt>
                <c:pt idx="52">
                  <c:v>154.5635750682265</c:v>
                </c:pt>
                <c:pt idx="53">
                  <c:v>154.87998467723486</c:v>
                </c:pt>
                <c:pt idx="54">
                  <c:v>155.18125599367434</c:v>
                </c:pt>
                <c:pt idx="55">
                  <c:v>155.46876537039424</c:v>
                </c:pt>
                <c:pt idx="56">
                  <c:v>155.74330565300895</c:v>
                </c:pt>
                <c:pt idx="57">
                  <c:v>156.00534110048116</c:v>
                </c:pt>
                <c:pt idx="58">
                  <c:v>156.2553865035965</c:v>
                </c:pt>
                <c:pt idx="59">
                  <c:v>156.49614294034853</c:v>
                </c:pt>
                <c:pt idx="60">
                  <c:v>156.72610800256675</c:v>
                </c:pt>
                <c:pt idx="61">
                  <c:v>156.94631308997526</c:v>
                </c:pt>
                <c:pt idx="62">
                  <c:v>157.15728699637151</c:v>
                </c:pt>
                <c:pt idx="63">
                  <c:v>157.36054364778528</c:v>
                </c:pt>
                <c:pt idx="64">
                  <c:v>157.55537732784745</c:v>
                </c:pt>
                <c:pt idx="65">
                  <c:v>157.74308945568038</c:v>
                </c:pt>
                <c:pt idx="66">
                  <c:v>157.92409677813271</c:v>
                </c:pt>
                <c:pt idx="67">
                  <c:v>158.09986645190349</c:v>
                </c:pt>
                <c:pt idx="68">
                  <c:v>158.2684669282863</c:v>
                </c:pt>
                <c:pt idx="69">
                  <c:v>158.43214365703497</c:v>
                </c:pt>
                <c:pt idx="70">
                  <c:v>158.59025178757059</c:v>
                </c:pt>
                <c:pt idx="71">
                  <c:v>158.74282002187846</c:v>
                </c:pt>
                <c:pt idx="72">
                  <c:v>158.89119672510236</c:v>
                </c:pt>
                <c:pt idx="73">
                  <c:v>159.03452224537108</c:v>
                </c:pt>
                <c:pt idx="74">
                  <c:v>159.17515125502422</c:v>
                </c:pt>
                <c:pt idx="75">
                  <c:v>159.31120291650134</c:v>
                </c:pt>
                <c:pt idx="76">
                  <c:v>159.44366773065272</c:v>
                </c:pt>
                <c:pt idx="77">
                  <c:v>159.57158291025064</c:v>
                </c:pt>
                <c:pt idx="78">
                  <c:v>159.69727342417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1-476C-8CC6-600100E9D0D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41-476C-8CC6-600100E9D0D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42.12232573315904</c:v>
                </c:pt>
                <c:pt idx="32">
                  <c:v>143.19592082478329</c:v>
                </c:pt>
                <c:pt idx="33">
                  <c:v>144.22355855913278</c:v>
                </c:pt>
                <c:pt idx="34">
                  <c:v>145.20055267887292</c:v>
                </c:pt>
                <c:pt idx="35">
                  <c:v>146.13935473342954</c:v>
                </c:pt>
                <c:pt idx="36">
                  <c:v>147.0603968136692</c:v>
                </c:pt>
                <c:pt idx="37">
                  <c:v>147.97275770309568</c:v>
                </c:pt>
                <c:pt idx="38">
                  <c:v>148.87568197384439</c:v>
                </c:pt>
                <c:pt idx="39">
                  <c:v>149.76519386143428</c:v>
                </c:pt>
                <c:pt idx="40">
                  <c:v>150.63752232008545</c:v>
                </c:pt>
                <c:pt idx="41">
                  <c:v>151.49243492818718</c:v>
                </c:pt>
                <c:pt idx="42">
                  <c:v>152.33436088101757</c:v>
                </c:pt>
                <c:pt idx="43">
                  <c:v>153.16552333963679</c:v>
                </c:pt>
                <c:pt idx="44">
                  <c:v>153.98774470144846</c:v>
                </c:pt>
                <c:pt idx="45">
                  <c:v>154.7973328921299</c:v>
                </c:pt>
                <c:pt idx="46">
                  <c:v>155.59458599554421</c:v>
                </c:pt>
                <c:pt idx="47">
                  <c:v>156.37951290665566</c:v>
                </c:pt>
                <c:pt idx="48">
                  <c:v>157.15422839755792</c:v>
                </c:pt>
                <c:pt idx="49">
                  <c:v>157.91886093923412</c:v>
                </c:pt>
                <c:pt idx="50">
                  <c:v>158.67331789985354</c:v>
                </c:pt>
                <c:pt idx="51">
                  <c:v>159.41870402997591</c:v>
                </c:pt>
                <c:pt idx="52">
                  <c:v>160.15367006990635</c:v>
                </c:pt>
                <c:pt idx="53">
                  <c:v>160.87838115341452</c:v>
                </c:pt>
                <c:pt idx="54">
                  <c:v>161.59419299340439</c:v>
                </c:pt>
                <c:pt idx="55">
                  <c:v>162.30109589198636</c:v>
                </c:pt>
                <c:pt idx="56">
                  <c:v>162.99937319268588</c:v>
                </c:pt>
                <c:pt idx="57">
                  <c:v>163.68794947871024</c:v>
                </c:pt>
                <c:pt idx="58">
                  <c:v>164.36799962865535</c:v>
                </c:pt>
                <c:pt idx="59">
                  <c:v>165.03968142246154</c:v>
                </c:pt>
                <c:pt idx="60">
                  <c:v>165.70321753365482</c:v>
                </c:pt>
                <c:pt idx="61">
                  <c:v>166.35851469623441</c:v>
                </c:pt>
                <c:pt idx="62">
                  <c:v>167.00570313174302</c:v>
                </c:pt>
                <c:pt idx="63">
                  <c:v>167.6448390628307</c:v>
                </c:pt>
                <c:pt idx="64">
                  <c:v>168.2759816892885</c:v>
                </c:pt>
                <c:pt idx="65">
                  <c:v>168.90040619733236</c:v>
                </c:pt>
                <c:pt idx="66">
                  <c:v>169.51719184506925</c:v>
                </c:pt>
                <c:pt idx="67">
                  <c:v>170.12624402841607</c:v>
                </c:pt>
                <c:pt idx="68">
                  <c:v>170.72879995465706</c:v>
                </c:pt>
                <c:pt idx="69">
                  <c:v>171.32392878451833</c:v>
                </c:pt>
                <c:pt idx="70">
                  <c:v>171.91273217244861</c:v>
                </c:pt>
                <c:pt idx="71">
                  <c:v>172.49425973474615</c:v>
                </c:pt>
                <c:pt idx="72">
                  <c:v>173.06959657499698</c:v>
                </c:pt>
                <c:pt idx="73">
                  <c:v>173.63776109197485</c:v>
                </c:pt>
                <c:pt idx="74">
                  <c:v>174.19983239075617</c:v>
                </c:pt>
                <c:pt idx="75">
                  <c:v>174.75603081605496</c:v>
                </c:pt>
                <c:pt idx="76">
                  <c:v>175.3052367228118</c:v>
                </c:pt>
                <c:pt idx="77">
                  <c:v>175.84970286508795</c:v>
                </c:pt>
                <c:pt idx="78">
                  <c:v>176.38746171696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41-476C-8CC6-600100E9D0D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42.16600157142054</c:v>
                </c:pt>
                <c:pt idx="32">
                  <c:v>143.31542371786961</c:v>
                </c:pt>
                <c:pt idx="33">
                  <c:v>144.43775288066178</c:v>
                </c:pt>
                <c:pt idx="34">
                  <c:v>145.52169139017568</c:v>
                </c:pt>
                <c:pt idx="35">
                  <c:v>146.59064517839383</c:v>
                </c:pt>
                <c:pt idx="36">
                  <c:v>147.67302082138903</c:v>
                </c:pt>
                <c:pt idx="37">
                  <c:v>148.78438765942386</c:v>
                </c:pt>
                <c:pt idx="38">
                  <c:v>149.92624412774117</c:v>
                </c:pt>
                <c:pt idx="39">
                  <c:v>151.08475669827763</c:v>
                </c:pt>
                <c:pt idx="40">
                  <c:v>152.2537635244467</c:v>
                </c:pt>
                <c:pt idx="41">
                  <c:v>153.43758689188152</c:v>
                </c:pt>
                <c:pt idx="42">
                  <c:v>154.64655081338367</c:v>
                </c:pt>
                <c:pt idx="43">
                  <c:v>155.88541701762585</c:v>
                </c:pt>
                <c:pt idx="44">
                  <c:v>157.15203998421441</c:v>
                </c:pt>
                <c:pt idx="45">
                  <c:v>158.44224631089659</c:v>
                </c:pt>
                <c:pt idx="46">
                  <c:v>159.7538680161268</c:v>
                </c:pt>
                <c:pt idx="47">
                  <c:v>161.09138919192154</c:v>
                </c:pt>
                <c:pt idx="48">
                  <c:v>162.45782941904551</c:v>
                </c:pt>
                <c:pt idx="49">
                  <c:v>163.85370904517708</c:v>
                </c:pt>
                <c:pt idx="50">
                  <c:v>165.27915004876854</c:v>
                </c:pt>
                <c:pt idx="51">
                  <c:v>166.73184731549401</c:v>
                </c:pt>
                <c:pt idx="52">
                  <c:v>168.21111096364427</c:v>
                </c:pt>
                <c:pt idx="53">
                  <c:v>169.72081913821481</c:v>
                </c:pt>
                <c:pt idx="54">
                  <c:v>171.26308084349731</c:v>
                </c:pt>
                <c:pt idx="55">
                  <c:v>172.83698670686707</c:v>
                </c:pt>
                <c:pt idx="56">
                  <c:v>174.44162180432326</c:v>
                </c:pt>
                <c:pt idx="57">
                  <c:v>176.07818065915191</c:v>
                </c:pt>
                <c:pt idx="58">
                  <c:v>177.74715342029319</c:v>
                </c:pt>
                <c:pt idx="59">
                  <c:v>179.44876075808796</c:v>
                </c:pt>
                <c:pt idx="60">
                  <c:v>181.18577307915206</c:v>
                </c:pt>
                <c:pt idx="61">
                  <c:v>182.95629050919479</c:v>
                </c:pt>
                <c:pt idx="62">
                  <c:v>184.76267062613047</c:v>
                </c:pt>
                <c:pt idx="63">
                  <c:v>186.60431446949752</c:v>
                </c:pt>
                <c:pt idx="64">
                  <c:v>188.48252620376547</c:v>
                </c:pt>
                <c:pt idx="65">
                  <c:v>190.3977527202982</c:v>
                </c:pt>
                <c:pt idx="66">
                  <c:v>192.35152871621403</c:v>
                </c:pt>
                <c:pt idx="67">
                  <c:v>194.34316413441726</c:v>
                </c:pt>
                <c:pt idx="68">
                  <c:v>196.37398630251289</c:v>
                </c:pt>
                <c:pt idx="69">
                  <c:v>198.44325363935758</c:v>
                </c:pt>
                <c:pt idx="70">
                  <c:v>200.55344109137729</c:v>
                </c:pt>
                <c:pt idx="71">
                  <c:v>202.70522434252075</c:v>
                </c:pt>
                <c:pt idx="72">
                  <c:v>204.89774863556744</c:v>
                </c:pt>
                <c:pt idx="73">
                  <c:v>207.13350710051856</c:v>
                </c:pt>
                <c:pt idx="74">
                  <c:v>209.41317638182855</c:v>
                </c:pt>
                <c:pt idx="75">
                  <c:v>211.73594417471378</c:v>
                </c:pt>
                <c:pt idx="76">
                  <c:v>214.10313949492041</c:v>
                </c:pt>
                <c:pt idx="77">
                  <c:v>216.51646558193272</c:v>
                </c:pt>
                <c:pt idx="78">
                  <c:v>218.976484159188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41-476C-8CC6-600100E9D0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1</c:v>
                </c:pt>
                <c:pt idx="1">
                  <c:v>35</c:v>
                </c:pt>
                <c:pt idx="2">
                  <c:v>58</c:v>
                </c:pt>
                <c:pt idx="3">
                  <c:v>81</c:v>
                </c:pt>
                <c:pt idx="4">
                  <c:v>119</c:v>
                </c:pt>
                <c:pt idx="5">
                  <c:v>146</c:v>
                </c:pt>
                <c:pt idx="6">
                  <c:v>177</c:v>
                </c:pt>
                <c:pt idx="7">
                  <c:v>190</c:v>
                </c:pt>
                <c:pt idx="8">
                  <c:v>208</c:v>
                </c:pt>
                <c:pt idx="9">
                  <c:v>233</c:v>
                </c:pt>
                <c:pt idx="10">
                  <c:v>266</c:v>
                </c:pt>
                <c:pt idx="11">
                  <c:v>287</c:v>
                </c:pt>
                <c:pt idx="12">
                  <c:v>300</c:v>
                </c:pt>
                <c:pt idx="13">
                  <c:v>320</c:v>
                </c:pt>
                <c:pt idx="14">
                  <c:v>336</c:v>
                </c:pt>
                <c:pt idx="15">
                  <c:v>348</c:v>
                </c:pt>
                <c:pt idx="16">
                  <c:v>362</c:v>
                </c:pt>
                <c:pt idx="17">
                  <c:v>373</c:v>
                </c:pt>
                <c:pt idx="18">
                  <c:v>382</c:v>
                </c:pt>
                <c:pt idx="19">
                  <c:v>391</c:v>
                </c:pt>
                <c:pt idx="20">
                  <c:v>400</c:v>
                </c:pt>
                <c:pt idx="21">
                  <c:v>408</c:v>
                </c:pt>
                <c:pt idx="22">
                  <c:v>411</c:v>
                </c:pt>
                <c:pt idx="23">
                  <c:v>421</c:v>
                </c:pt>
                <c:pt idx="24">
                  <c:v>430</c:v>
                </c:pt>
                <c:pt idx="25">
                  <c:v>438</c:v>
                </c:pt>
                <c:pt idx="26">
                  <c:v>444</c:v>
                </c:pt>
                <c:pt idx="27">
                  <c:v>447</c:v>
                </c:pt>
                <c:pt idx="28">
                  <c:v>451</c:v>
                </c:pt>
                <c:pt idx="29">
                  <c:v>455</c:v>
                </c:pt>
                <c:pt idx="30">
                  <c:v>460</c:v>
                </c:pt>
                <c:pt idx="31">
                  <c:v>464</c:v>
                </c:pt>
                <c:pt idx="32">
                  <c:v>470</c:v>
                </c:pt>
                <c:pt idx="33">
                  <c:v>473</c:v>
                </c:pt>
                <c:pt idx="34">
                  <c:v>476</c:v>
                </c:pt>
                <c:pt idx="35">
                  <c:v>478</c:v>
                </c:pt>
                <c:pt idx="36">
                  <c:v>480</c:v>
                </c:pt>
                <c:pt idx="37">
                  <c:v>485</c:v>
                </c:pt>
                <c:pt idx="38">
                  <c:v>485</c:v>
                </c:pt>
                <c:pt idx="39">
                  <c:v>486</c:v>
                </c:pt>
                <c:pt idx="40">
                  <c:v>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64.48963061626938</c:v>
                </c:pt>
                <c:pt idx="32">
                  <c:v>468.64699040594428</c:v>
                </c:pt>
                <c:pt idx="33">
                  <c:v>472.53085357473503</c:v>
                </c:pt>
                <c:pt idx="34">
                  <c:v>476.14747167196032</c:v>
                </c:pt>
                <c:pt idx="35">
                  <c:v>479.53256073401531</c:v>
                </c:pt>
                <c:pt idx="36">
                  <c:v>482.74388637510145</c:v>
                </c:pt>
                <c:pt idx="37">
                  <c:v>485.79959889857702</c:v>
                </c:pt>
                <c:pt idx="38">
                  <c:v>488.70092586943764</c:v>
                </c:pt>
                <c:pt idx="39">
                  <c:v>491.4573087868547</c:v>
                </c:pt>
                <c:pt idx="40">
                  <c:v>494.06324751802174</c:v>
                </c:pt>
                <c:pt idx="41">
                  <c:v>496.5267263009797</c:v>
                </c:pt>
                <c:pt idx="42">
                  <c:v>498.85427303100425</c:v>
                </c:pt>
                <c:pt idx="43">
                  <c:v>501.05489182352687</c:v>
                </c:pt>
                <c:pt idx="44">
                  <c:v>503.1477112197972</c:v>
                </c:pt>
                <c:pt idx="45">
                  <c:v>505.12621070217892</c:v>
                </c:pt>
                <c:pt idx="46">
                  <c:v>507.00564427421227</c:v>
                </c:pt>
                <c:pt idx="47">
                  <c:v>508.78589909797722</c:v>
                </c:pt>
                <c:pt idx="48">
                  <c:v>510.47299774802468</c:v>
                </c:pt>
                <c:pt idx="49">
                  <c:v>512.07881539539494</c:v>
                </c:pt>
                <c:pt idx="50">
                  <c:v>513.60689501304341</c:v>
                </c:pt>
                <c:pt idx="51">
                  <c:v>515.05919928698495</c:v>
                </c:pt>
                <c:pt idx="52">
                  <c:v>516.44146813987459</c:v>
                </c:pt>
                <c:pt idx="53">
                  <c:v>517.75804167390959</c:v>
                </c:pt>
                <c:pt idx="54">
                  <c:v>519.01162411806581</c:v>
                </c:pt>
                <c:pt idx="55">
                  <c:v>520.20797200914603</c:v>
                </c:pt>
                <c:pt idx="56">
                  <c:v>521.35036830411718</c:v>
                </c:pt>
                <c:pt idx="57">
                  <c:v>522.44073340847558</c:v>
                </c:pt>
                <c:pt idx="58">
                  <c:v>523.48119899927008</c:v>
                </c:pt>
                <c:pt idx="59">
                  <c:v>524.48305489799884</c:v>
                </c:pt>
                <c:pt idx="60">
                  <c:v>525.44000042715982</c:v>
                </c:pt>
                <c:pt idx="61">
                  <c:v>526.35634131521476</c:v>
                </c:pt>
                <c:pt idx="62">
                  <c:v>527.2342746454184</c:v>
                </c:pt>
                <c:pt idx="63">
                  <c:v>528.08011417865055</c:v>
                </c:pt>
                <c:pt idx="64">
                  <c:v>528.89090363524031</c:v>
                </c:pt>
                <c:pt idx="65">
                  <c:v>529.67207002542523</c:v>
                </c:pt>
                <c:pt idx="66">
                  <c:v>530.4253475294779</c:v>
                </c:pt>
                <c:pt idx="67">
                  <c:v>531.15685665226169</c:v>
                </c:pt>
                <c:pt idx="68">
                  <c:v>531.85852298243265</c:v>
                </c:pt>
                <c:pt idx="69">
                  <c:v>532.53971690627452</c:v>
                </c:pt>
                <c:pt idx="70">
                  <c:v>533.19774049159162</c:v>
                </c:pt>
                <c:pt idx="71">
                  <c:v>533.83270604607731</c:v>
                </c:pt>
                <c:pt idx="72">
                  <c:v>534.45024001424849</c:v>
                </c:pt>
                <c:pt idx="73">
                  <c:v>535.04674890626177</c:v>
                </c:pt>
                <c:pt idx="74">
                  <c:v>535.63206170123158</c:v>
                </c:pt>
                <c:pt idx="75">
                  <c:v>536.19832138919253</c:v>
                </c:pt>
                <c:pt idx="76">
                  <c:v>536.74965905904594</c:v>
                </c:pt>
                <c:pt idx="77">
                  <c:v>537.28205175678454</c:v>
                </c:pt>
                <c:pt idx="78">
                  <c:v>537.8052059642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98-4190-A425-EAB27EEA99BA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98-4190-A425-EAB27EEA99BA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64.67203896988804</c:v>
                </c:pt>
                <c:pt idx="32">
                  <c:v>469.14100912583808</c:v>
                </c:pt>
                <c:pt idx="33">
                  <c:v>473.4191931047892</c:v>
                </c:pt>
                <c:pt idx="34">
                  <c:v>477.48678300914008</c:v>
                </c:pt>
                <c:pt idx="35">
                  <c:v>481.39529894723643</c:v>
                </c:pt>
                <c:pt idx="36">
                  <c:v>485.22986548563512</c:v>
                </c:pt>
                <c:pt idx="37">
                  <c:v>489.02809870947618</c:v>
                </c:pt>
                <c:pt idx="38">
                  <c:v>492.78698608163711</c:v>
                </c:pt>
                <c:pt idx="39">
                  <c:v>496.48986657118286</c:v>
                </c:pt>
                <c:pt idx="40">
                  <c:v>500.12117205585594</c:v>
                </c:pt>
                <c:pt idx="41">
                  <c:v>503.68000774371671</c:v>
                </c:pt>
                <c:pt idx="42">
                  <c:v>507.18480474300105</c:v>
                </c:pt>
                <c:pt idx="43">
                  <c:v>510.64482023466144</c:v>
                </c:pt>
                <c:pt idx="44">
                  <c:v>514.06761663409486</c:v>
                </c:pt>
                <c:pt idx="45">
                  <c:v>517.43782833148259</c:v>
                </c:pt>
                <c:pt idx="46">
                  <c:v>520.75666752161499</c:v>
                </c:pt>
                <c:pt idx="47">
                  <c:v>524.02420233711894</c:v>
                </c:pt>
                <c:pt idx="48">
                  <c:v>527.24925325978552</c:v>
                </c:pt>
                <c:pt idx="49">
                  <c:v>530.43235997165027</c:v>
                </c:pt>
                <c:pt idx="50">
                  <c:v>533.57309404381647</c:v>
                </c:pt>
                <c:pt idx="51">
                  <c:v>536.67605972009812</c:v>
                </c:pt>
                <c:pt idx="52">
                  <c:v>539.73565581343132</c:v>
                </c:pt>
                <c:pt idx="53">
                  <c:v>542.7525608361799</c:v>
                </c:pt>
                <c:pt idx="54">
                  <c:v>545.73242536829343</c:v>
                </c:pt>
                <c:pt idx="55">
                  <c:v>548.67522773329392</c:v>
                </c:pt>
                <c:pt idx="56">
                  <c:v>551.58213191417121</c:v>
                </c:pt>
                <c:pt idx="57">
                  <c:v>554.44863741892095</c:v>
                </c:pt>
                <c:pt idx="58">
                  <c:v>557.27964129847226</c:v>
                </c:pt>
                <c:pt idx="59">
                  <c:v>560.07582051441614</c:v>
                </c:pt>
                <c:pt idx="60">
                  <c:v>562.83808742983592</c:v>
                </c:pt>
                <c:pt idx="61">
                  <c:v>565.56606073693968</c:v>
                </c:pt>
                <c:pt idx="62">
                  <c:v>568.2602796331629</c:v>
                </c:pt>
                <c:pt idx="63">
                  <c:v>570.9209765508308</c:v>
                </c:pt>
                <c:pt idx="64">
                  <c:v>573.5483969421341</c:v>
                </c:pt>
                <c:pt idx="65">
                  <c:v>576.14786481649026</c:v>
                </c:pt>
                <c:pt idx="66">
                  <c:v>578.71553310381455</c:v>
                </c:pt>
                <c:pt idx="67">
                  <c:v>581.25100350533728</c:v>
                </c:pt>
                <c:pt idx="68">
                  <c:v>583.75944174532833</c:v>
                </c:pt>
                <c:pt idx="69">
                  <c:v>586.23695869486266</c:v>
                </c:pt>
                <c:pt idx="70">
                  <c:v>588.68815162376075</c:v>
                </c:pt>
                <c:pt idx="71">
                  <c:v>591.10905060357265</c:v>
                </c:pt>
                <c:pt idx="72">
                  <c:v>593.50418450124039</c:v>
                </c:pt>
                <c:pt idx="73">
                  <c:v>595.8694531310897</c:v>
                </c:pt>
                <c:pt idx="74">
                  <c:v>598.20936106345232</c:v>
                </c:pt>
                <c:pt idx="75">
                  <c:v>600.52482797107973</c:v>
                </c:pt>
                <c:pt idx="76">
                  <c:v>602.81117609423131</c:v>
                </c:pt>
                <c:pt idx="77">
                  <c:v>605.07781172189834</c:v>
                </c:pt>
                <c:pt idx="78">
                  <c:v>607.316518064442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98-4190-A425-EAB27EEA99B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64.85444732350328</c:v>
                </c:pt>
                <c:pt idx="32">
                  <c:v>469.64009474444106</c:v>
                </c:pt>
                <c:pt idx="33">
                  <c:v>474.31365502899382</c:v>
                </c:pt>
                <c:pt idx="34">
                  <c:v>478.82765288168974</c:v>
                </c:pt>
                <c:pt idx="35">
                  <c:v>483.27930305146361</c:v>
                </c:pt>
                <c:pt idx="36">
                  <c:v>487.78696826253787</c:v>
                </c:pt>
                <c:pt idx="37">
                  <c:v>492.41531310735508</c:v>
                </c:pt>
                <c:pt idx="38">
                  <c:v>497.17069215711155</c:v>
                </c:pt>
                <c:pt idx="39">
                  <c:v>501.99525118254502</c:v>
                </c:pt>
                <c:pt idx="40">
                  <c:v>506.86341669868403</c:v>
                </c:pt>
                <c:pt idx="41">
                  <c:v>511.793314485103</c:v>
                </c:pt>
                <c:pt idx="42">
                  <c:v>516.82798775273841</c:v>
                </c:pt>
                <c:pt idx="43">
                  <c:v>521.98727811581284</c:v>
                </c:pt>
                <c:pt idx="44">
                  <c:v>527.262164211391</c:v>
                </c:pt>
                <c:pt idx="45">
                  <c:v>532.6352629650529</c:v>
                </c:pt>
                <c:pt idx="46">
                  <c:v>538.09748948921003</c:v>
                </c:pt>
                <c:pt idx="47">
                  <c:v>543.66759584872045</c:v>
                </c:pt>
                <c:pt idx="48">
                  <c:v>549.35817955145774</c:v>
                </c:pt>
                <c:pt idx="49">
                  <c:v>555.17140586198889</c:v>
                </c:pt>
                <c:pt idx="50">
                  <c:v>561.10773590498616</c:v>
                </c:pt>
                <c:pt idx="51">
                  <c:v>567.15752906791249</c:v>
                </c:pt>
                <c:pt idx="52">
                  <c:v>573.31793332279165</c:v>
                </c:pt>
                <c:pt idx="53">
                  <c:v>579.60513569201714</c:v>
                </c:pt>
                <c:pt idx="54">
                  <c:v>586.02793046876673</c:v>
                </c:pt>
                <c:pt idx="55">
                  <c:v>592.58253101321134</c:v>
                </c:pt>
                <c:pt idx="56">
                  <c:v>599.26509305768673</c:v>
                </c:pt>
                <c:pt idx="57">
                  <c:v>606.08059259719516</c:v>
                </c:pt>
                <c:pt idx="58">
                  <c:v>613.03106384056719</c:v>
                </c:pt>
                <c:pt idx="59">
                  <c:v>620.11743772192995</c:v>
                </c:pt>
                <c:pt idx="60">
                  <c:v>627.3512634976247</c:v>
                </c:pt>
                <c:pt idx="61">
                  <c:v>634.72460976001798</c:v>
                </c:pt>
                <c:pt idx="62">
                  <c:v>642.24731057536815</c:v>
                </c:pt>
                <c:pt idx="63">
                  <c:v>649.91685953688045</c:v>
                </c:pt>
                <c:pt idx="64">
                  <c:v>657.73869508871417</c:v>
                </c:pt>
                <c:pt idx="65">
                  <c:v>665.71467637666092</c:v>
                </c:pt>
                <c:pt idx="66">
                  <c:v>673.85120471128869</c:v>
                </c:pt>
                <c:pt idx="67">
                  <c:v>682.14538939177612</c:v>
                </c:pt>
                <c:pt idx="68">
                  <c:v>690.60276460885802</c:v>
                </c:pt>
                <c:pt idx="69">
                  <c:v>699.22022479678321</c:v>
                </c:pt>
                <c:pt idx="70">
                  <c:v>708.00809784683395</c:v>
                </c:pt>
                <c:pt idx="71">
                  <c:v>716.96919893688028</c:v>
                </c:pt>
                <c:pt idx="72">
                  <c:v>726.09994924246791</c:v>
                </c:pt>
                <c:pt idx="73">
                  <c:v>735.41075269896533</c:v>
                </c:pt>
                <c:pt idx="74">
                  <c:v>744.90442906635099</c:v>
                </c:pt>
                <c:pt idx="75">
                  <c:v>754.57757477334667</c:v>
                </c:pt>
                <c:pt idx="76">
                  <c:v>764.43573050225427</c:v>
                </c:pt>
                <c:pt idx="77">
                  <c:v>774.48600162034586</c:v>
                </c:pt>
                <c:pt idx="78">
                  <c:v>784.73072348461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298-4190-A425-EAB27EEA99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</c:v>
                </c:pt>
                <c:pt idx="1">
                  <c:v>23</c:v>
                </c:pt>
                <c:pt idx="2">
                  <c:v>42</c:v>
                </c:pt>
                <c:pt idx="3">
                  <c:v>57</c:v>
                </c:pt>
                <c:pt idx="4">
                  <c:v>69</c:v>
                </c:pt>
                <c:pt idx="5">
                  <c:v>83</c:v>
                </c:pt>
                <c:pt idx="6">
                  <c:v>93</c:v>
                </c:pt>
                <c:pt idx="7">
                  <c:v>98</c:v>
                </c:pt>
                <c:pt idx="8">
                  <c:v>107</c:v>
                </c:pt>
                <c:pt idx="9">
                  <c:v>113</c:v>
                </c:pt>
                <c:pt idx="10">
                  <c:v>130</c:v>
                </c:pt>
                <c:pt idx="11">
                  <c:v>144</c:v>
                </c:pt>
                <c:pt idx="12">
                  <c:v>153</c:v>
                </c:pt>
                <c:pt idx="13">
                  <c:v>159</c:v>
                </c:pt>
                <c:pt idx="14">
                  <c:v>165</c:v>
                </c:pt>
                <c:pt idx="15">
                  <c:v>170</c:v>
                </c:pt>
                <c:pt idx="16">
                  <c:v>176</c:v>
                </c:pt>
                <c:pt idx="17">
                  <c:v>181</c:v>
                </c:pt>
                <c:pt idx="18">
                  <c:v>184</c:v>
                </c:pt>
                <c:pt idx="19">
                  <c:v>187</c:v>
                </c:pt>
                <c:pt idx="20">
                  <c:v>189</c:v>
                </c:pt>
                <c:pt idx="21">
                  <c:v>192</c:v>
                </c:pt>
                <c:pt idx="22">
                  <c:v>193</c:v>
                </c:pt>
                <c:pt idx="23">
                  <c:v>195</c:v>
                </c:pt>
                <c:pt idx="24">
                  <c:v>203</c:v>
                </c:pt>
                <c:pt idx="25">
                  <c:v>208</c:v>
                </c:pt>
                <c:pt idx="26">
                  <c:v>209</c:v>
                </c:pt>
                <c:pt idx="27">
                  <c:v>213</c:v>
                </c:pt>
                <c:pt idx="28">
                  <c:v>214</c:v>
                </c:pt>
                <c:pt idx="29">
                  <c:v>215</c:v>
                </c:pt>
                <c:pt idx="30">
                  <c:v>218</c:v>
                </c:pt>
                <c:pt idx="31">
                  <c:v>219</c:v>
                </c:pt>
                <c:pt idx="32">
                  <c:v>220</c:v>
                </c:pt>
                <c:pt idx="33">
                  <c:v>221</c:v>
                </c:pt>
                <c:pt idx="34">
                  <c:v>224</c:v>
                </c:pt>
                <c:pt idx="35">
                  <c:v>225</c:v>
                </c:pt>
                <c:pt idx="36">
                  <c:v>227</c:v>
                </c:pt>
                <c:pt idx="37">
                  <c:v>228</c:v>
                </c:pt>
                <c:pt idx="38">
                  <c:v>228</c:v>
                </c:pt>
                <c:pt idx="39">
                  <c:v>230</c:v>
                </c:pt>
                <c:pt idx="40">
                  <c:v>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12.69042719957167</c:v>
                </c:pt>
                <c:pt idx="32">
                  <c:v>214.25849991141723</c:v>
                </c:pt>
                <c:pt idx="33">
                  <c:v>215.72233501263895</c:v>
                </c:pt>
                <c:pt idx="34">
                  <c:v>217.08494811705816</c:v>
                </c:pt>
                <c:pt idx="35">
                  <c:v>218.36103413049281</c:v>
                </c:pt>
                <c:pt idx="36">
                  <c:v>219.57211672902721</c:v>
                </c:pt>
                <c:pt idx="37">
                  <c:v>220.72581524462515</c:v>
                </c:pt>
                <c:pt idx="38">
                  <c:v>221.82185034916307</c:v>
                </c:pt>
                <c:pt idx="39">
                  <c:v>222.86386078729274</c:v>
                </c:pt>
                <c:pt idx="40">
                  <c:v>223.84914206591165</c:v>
                </c:pt>
                <c:pt idx="41">
                  <c:v>224.78036636448729</c:v>
                </c:pt>
                <c:pt idx="42">
                  <c:v>225.66024963635735</c:v>
                </c:pt>
                <c:pt idx="43">
                  <c:v>226.49221970293078</c:v>
                </c:pt>
                <c:pt idx="44">
                  <c:v>227.28346498190965</c:v>
                </c:pt>
                <c:pt idx="45">
                  <c:v>228.03146813594967</c:v>
                </c:pt>
                <c:pt idx="46">
                  <c:v>228.74198932097028</c:v>
                </c:pt>
                <c:pt idx="47">
                  <c:v>229.41493464344225</c:v>
                </c:pt>
                <c:pt idx="48">
                  <c:v>230.05262593971037</c:v>
                </c:pt>
                <c:pt idx="49">
                  <c:v>230.65941392666377</c:v>
                </c:pt>
                <c:pt idx="50">
                  <c:v>231.23681379346183</c:v>
                </c:pt>
                <c:pt idx="51">
                  <c:v>231.78564927498792</c:v>
                </c:pt>
                <c:pt idx="52">
                  <c:v>232.30792681965357</c:v>
                </c:pt>
                <c:pt idx="53">
                  <c:v>232.80532082062192</c:v>
                </c:pt>
                <c:pt idx="54">
                  <c:v>233.27892118930598</c:v>
                </c:pt>
                <c:pt idx="55">
                  <c:v>233.73078100646836</c:v>
                </c:pt>
                <c:pt idx="56">
                  <c:v>234.16220665788882</c:v>
                </c:pt>
                <c:pt idx="57">
                  <c:v>234.57397045481179</c:v>
                </c:pt>
                <c:pt idx="58">
                  <c:v>234.96692036868663</c:v>
                </c:pt>
                <c:pt idx="59">
                  <c:v>235.34511292475742</c:v>
                </c:pt>
                <c:pt idx="60">
                  <c:v>235.70637027285045</c:v>
                </c:pt>
                <c:pt idx="61">
                  <c:v>236.05226105833827</c:v>
                </c:pt>
                <c:pt idx="62">
                  <c:v>236.383628568017</c:v>
                </c:pt>
                <c:pt idx="63">
                  <c:v>236.7027990375411</c:v>
                </c:pt>
                <c:pt idx="64">
                  <c:v>237.00873715396679</c:v>
                </c:pt>
                <c:pt idx="65">
                  <c:v>237.30344449354354</c:v>
                </c:pt>
                <c:pt idx="66">
                  <c:v>237.5875757847476</c:v>
                </c:pt>
                <c:pt idx="67">
                  <c:v>237.86337869371638</c:v>
                </c:pt>
                <c:pt idx="68">
                  <c:v>238.12795622850422</c:v>
                </c:pt>
                <c:pt idx="69">
                  <c:v>238.38473682313807</c:v>
                </c:pt>
                <c:pt idx="70">
                  <c:v>238.63276182721472</c:v>
                </c:pt>
                <c:pt idx="71">
                  <c:v>238.87210298510701</c:v>
                </c:pt>
                <c:pt idx="72">
                  <c:v>239.10482036804174</c:v>
                </c:pt>
                <c:pt idx="73">
                  <c:v>239.32962429294307</c:v>
                </c:pt>
                <c:pt idx="74">
                  <c:v>239.55009948581002</c:v>
                </c:pt>
                <c:pt idx="75">
                  <c:v>239.76340476656387</c:v>
                </c:pt>
                <c:pt idx="76">
                  <c:v>239.97106116518339</c:v>
                </c:pt>
                <c:pt idx="77">
                  <c:v>240.17161806762084</c:v>
                </c:pt>
                <c:pt idx="78">
                  <c:v>240.36860939979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83-4FA4-9515-DFDD688F8A3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83-4FA4-9515-DFDD688F8A3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12.75656467192587</c:v>
                </c:pt>
                <c:pt idx="32">
                  <c:v>214.43765304967562</c:v>
                </c:pt>
                <c:pt idx="33">
                  <c:v>216.04484631680177</c:v>
                </c:pt>
                <c:pt idx="34">
                  <c:v>217.57193116042961</c:v>
                </c:pt>
                <c:pt idx="35">
                  <c:v>219.03956763082221</c:v>
                </c:pt>
                <c:pt idx="36">
                  <c:v>220.4794744704804</c:v>
                </c:pt>
                <c:pt idx="37">
                  <c:v>221.9065237393371</c:v>
                </c:pt>
                <c:pt idx="38">
                  <c:v>223.31903889886516</c:v>
                </c:pt>
                <c:pt idx="39">
                  <c:v>224.71121114275556</c:v>
                </c:pt>
                <c:pt idx="40">
                  <c:v>226.07665205695935</c:v>
                </c:pt>
                <c:pt idx="41">
                  <c:v>227.41472590200465</c:v>
                </c:pt>
                <c:pt idx="42">
                  <c:v>228.73239040099298</c:v>
                </c:pt>
                <c:pt idx="43">
                  <c:v>230.03311546243518</c:v>
                </c:pt>
                <c:pt idx="44">
                  <c:v>231.31984268863172</c:v>
                </c:pt>
                <c:pt idx="45">
                  <c:v>232.58677926050794</c:v>
                </c:pt>
                <c:pt idx="46">
                  <c:v>233.83449892980542</c:v>
                </c:pt>
                <c:pt idx="47">
                  <c:v>235.06289931435239</c:v>
                </c:pt>
                <c:pt idx="48">
                  <c:v>236.27522644766378</c:v>
                </c:pt>
                <c:pt idx="49">
                  <c:v>237.47166315201397</c:v>
                </c:pt>
                <c:pt idx="50">
                  <c:v>238.65222455539481</c:v>
                </c:pt>
                <c:pt idx="51">
                  <c:v>239.81861964704621</c:v>
                </c:pt>
                <c:pt idx="52">
                  <c:v>240.96867859078299</c:v>
                </c:pt>
                <c:pt idx="53">
                  <c:v>242.10269315364599</c:v>
                </c:pt>
                <c:pt idx="54">
                  <c:v>243.22275903165647</c:v>
                </c:pt>
                <c:pt idx="55">
                  <c:v>244.32879114692832</c:v>
                </c:pt>
                <c:pt idx="56">
                  <c:v>245.42129101302248</c:v>
                </c:pt>
                <c:pt idx="57">
                  <c:v>246.49866419933181</c:v>
                </c:pt>
                <c:pt idx="58">
                  <c:v>247.5627261748522</c:v>
                </c:pt>
                <c:pt idx="59">
                  <c:v>248.6136485308721</c:v>
                </c:pt>
                <c:pt idx="60">
                  <c:v>249.6518343171351</c:v>
                </c:pt>
                <c:pt idx="61">
                  <c:v>250.67711160606703</c:v>
                </c:pt>
                <c:pt idx="62">
                  <c:v>251.68969501977145</c:v>
                </c:pt>
                <c:pt idx="63">
                  <c:v>252.68967858190638</c:v>
                </c:pt>
                <c:pt idx="64">
                  <c:v>253.67715863287577</c:v>
                </c:pt>
                <c:pt idx="65">
                  <c:v>254.65407250133831</c:v>
                </c:pt>
                <c:pt idx="66">
                  <c:v>255.61903217518429</c:v>
                </c:pt>
                <c:pt idx="67">
                  <c:v>256.57190633638817</c:v>
                </c:pt>
                <c:pt idx="68">
                  <c:v>257.51457356681084</c:v>
                </c:pt>
                <c:pt idx="69">
                  <c:v>258.44563014530598</c:v>
                </c:pt>
                <c:pt idx="70">
                  <c:v>259.36675810005767</c:v>
                </c:pt>
                <c:pt idx="71">
                  <c:v>260.27652102533659</c:v>
                </c:pt>
                <c:pt idx="72">
                  <c:v>261.17657319313673</c:v>
                </c:pt>
                <c:pt idx="73">
                  <c:v>262.06543047671204</c:v>
                </c:pt>
                <c:pt idx="74">
                  <c:v>262.9447352391752</c:v>
                </c:pt>
                <c:pt idx="75">
                  <c:v>263.81482330490428</c:v>
                </c:pt>
                <c:pt idx="76">
                  <c:v>264.6740054210419</c:v>
                </c:pt>
                <c:pt idx="77">
                  <c:v>265.52570090266931</c:v>
                </c:pt>
                <c:pt idx="78">
                  <c:v>266.36692882356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83-4FA4-9515-DFDD688F8A3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12.82270214427885</c:v>
                </c:pt>
                <c:pt idx="32">
                  <c:v>214.61864333994311</c:v>
                </c:pt>
                <c:pt idx="33">
                  <c:v>216.369578369012</c:v>
                </c:pt>
                <c:pt idx="34">
                  <c:v>218.05948956103896</c:v>
                </c:pt>
                <c:pt idx="35">
                  <c:v>219.72583208092601</c:v>
                </c:pt>
                <c:pt idx="36">
                  <c:v>221.41264926300096</c:v>
                </c:pt>
                <c:pt idx="37">
                  <c:v>223.1448613295853</c:v>
                </c:pt>
                <c:pt idx="38">
                  <c:v>224.92437655732303</c:v>
                </c:pt>
                <c:pt idx="39">
                  <c:v>226.73054510532666</c:v>
                </c:pt>
                <c:pt idx="40">
                  <c:v>228.55343445848561</c:v>
                </c:pt>
                <c:pt idx="41">
                  <c:v>230.39931259488989</c:v>
                </c:pt>
                <c:pt idx="42">
                  <c:v>232.28409016250711</c:v>
                </c:pt>
                <c:pt idx="43">
                  <c:v>234.21514726020354</c:v>
                </c:pt>
                <c:pt idx="44">
                  <c:v>236.18946224351538</c:v>
                </c:pt>
                <c:pt idx="45">
                  <c:v>238.20054049994386</c:v>
                </c:pt>
                <c:pt idx="46">
                  <c:v>240.2452131426912</c:v>
                </c:pt>
                <c:pt idx="47">
                  <c:v>242.33017820117919</c:v>
                </c:pt>
                <c:pt idx="48">
                  <c:v>244.4600586816766</c:v>
                </c:pt>
                <c:pt idx="49">
                  <c:v>246.63567215951014</c:v>
                </c:pt>
                <c:pt idx="50">
                  <c:v>248.85738397330428</c:v>
                </c:pt>
                <c:pt idx="51">
                  <c:v>251.12175402018107</c:v>
                </c:pt>
                <c:pt idx="52">
                  <c:v>253.42762843112038</c:v>
                </c:pt>
                <c:pt idx="53">
                  <c:v>255.78091612796362</c:v>
                </c:pt>
                <c:pt idx="54">
                  <c:v>258.18486226191305</c:v>
                </c:pt>
                <c:pt idx="55">
                  <c:v>260.63804762475826</c:v>
                </c:pt>
                <c:pt idx="56">
                  <c:v>263.13917338879628</c:v>
                </c:pt>
                <c:pt idx="57">
                  <c:v>265.69009636291628</c:v>
                </c:pt>
                <c:pt idx="58">
                  <c:v>268.29160683942325</c:v>
                </c:pt>
                <c:pt idx="59">
                  <c:v>270.94400411307271</c:v>
                </c:pt>
                <c:pt idx="60">
                  <c:v>273.65156227783393</c:v>
                </c:pt>
                <c:pt idx="61">
                  <c:v>276.41139222874756</c:v>
                </c:pt>
                <c:pt idx="62">
                  <c:v>279.22710944407572</c:v>
                </c:pt>
                <c:pt idx="63">
                  <c:v>282.0978252526217</c:v>
                </c:pt>
                <c:pt idx="64">
                  <c:v>285.025545506703</c:v>
                </c:pt>
                <c:pt idx="65">
                  <c:v>288.01097406107175</c:v>
                </c:pt>
                <c:pt idx="66">
                  <c:v>291.05646560945684</c:v>
                </c:pt>
                <c:pt idx="67">
                  <c:v>294.16100788120269</c:v>
                </c:pt>
                <c:pt idx="68">
                  <c:v>297.32664551427354</c:v>
                </c:pt>
                <c:pt idx="69">
                  <c:v>300.55228701667522</c:v>
                </c:pt>
                <c:pt idx="70">
                  <c:v>303.84171196412802</c:v>
                </c:pt>
                <c:pt idx="71">
                  <c:v>307.19596879919436</c:v>
                </c:pt>
                <c:pt idx="72">
                  <c:v>310.61379685049275</c:v>
                </c:pt>
                <c:pt idx="73">
                  <c:v>314.09900284753479</c:v>
                </c:pt>
                <c:pt idx="74">
                  <c:v>317.65263455366335</c:v>
                </c:pt>
                <c:pt idx="75">
                  <c:v>321.27350323171379</c:v>
                </c:pt>
                <c:pt idx="76">
                  <c:v>324.96365816542459</c:v>
                </c:pt>
                <c:pt idx="77">
                  <c:v>328.72570869268441</c:v>
                </c:pt>
                <c:pt idx="78">
                  <c:v>332.56054517580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A83-4FA4-9515-DFDD688F8A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9</c:v>
                </c:pt>
                <c:pt idx="1">
                  <c:v>32</c:v>
                </c:pt>
                <c:pt idx="2">
                  <c:v>53</c:v>
                </c:pt>
                <c:pt idx="3">
                  <c:v>73</c:v>
                </c:pt>
                <c:pt idx="4">
                  <c:v>83</c:v>
                </c:pt>
                <c:pt idx="5">
                  <c:v>98</c:v>
                </c:pt>
                <c:pt idx="6">
                  <c:v>114</c:v>
                </c:pt>
                <c:pt idx="7">
                  <c:v>126</c:v>
                </c:pt>
                <c:pt idx="8">
                  <c:v>139</c:v>
                </c:pt>
                <c:pt idx="9">
                  <c:v>166</c:v>
                </c:pt>
                <c:pt idx="10">
                  <c:v>177</c:v>
                </c:pt>
                <c:pt idx="11">
                  <c:v>190</c:v>
                </c:pt>
                <c:pt idx="12">
                  <c:v>201</c:v>
                </c:pt>
                <c:pt idx="13">
                  <c:v>213</c:v>
                </c:pt>
                <c:pt idx="14">
                  <c:v>223</c:v>
                </c:pt>
                <c:pt idx="15">
                  <c:v>229</c:v>
                </c:pt>
                <c:pt idx="16">
                  <c:v>240</c:v>
                </c:pt>
                <c:pt idx="17">
                  <c:v>248</c:v>
                </c:pt>
                <c:pt idx="18">
                  <c:v>256</c:v>
                </c:pt>
                <c:pt idx="19">
                  <c:v>262</c:v>
                </c:pt>
                <c:pt idx="20">
                  <c:v>275</c:v>
                </c:pt>
                <c:pt idx="21">
                  <c:v>282</c:v>
                </c:pt>
                <c:pt idx="22">
                  <c:v>283</c:v>
                </c:pt>
                <c:pt idx="23">
                  <c:v>290</c:v>
                </c:pt>
                <c:pt idx="24">
                  <c:v>301</c:v>
                </c:pt>
                <c:pt idx="25">
                  <c:v>311</c:v>
                </c:pt>
                <c:pt idx="26">
                  <c:v>315</c:v>
                </c:pt>
                <c:pt idx="27">
                  <c:v>320</c:v>
                </c:pt>
                <c:pt idx="28">
                  <c:v>321</c:v>
                </c:pt>
                <c:pt idx="29">
                  <c:v>325</c:v>
                </c:pt>
                <c:pt idx="30">
                  <c:v>328</c:v>
                </c:pt>
                <c:pt idx="31">
                  <c:v>330</c:v>
                </c:pt>
                <c:pt idx="32">
                  <c:v>337</c:v>
                </c:pt>
                <c:pt idx="33">
                  <c:v>339</c:v>
                </c:pt>
                <c:pt idx="34">
                  <c:v>343</c:v>
                </c:pt>
                <c:pt idx="35">
                  <c:v>343</c:v>
                </c:pt>
                <c:pt idx="36">
                  <c:v>345</c:v>
                </c:pt>
                <c:pt idx="37">
                  <c:v>345</c:v>
                </c:pt>
                <c:pt idx="38">
                  <c:v>345</c:v>
                </c:pt>
                <c:pt idx="39">
                  <c:v>346</c:v>
                </c:pt>
                <c:pt idx="40">
                  <c:v>3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32.56300666651106</c:v>
                </c:pt>
                <c:pt idx="32">
                  <c:v>336.78544533416829</c:v>
                </c:pt>
                <c:pt idx="33">
                  <c:v>340.73123150073513</c:v>
                </c:pt>
                <c:pt idx="34">
                  <c:v>344.40602938042031</c:v>
                </c:pt>
                <c:pt idx="35">
                  <c:v>347.84483933200806</c:v>
                </c:pt>
                <c:pt idx="36">
                  <c:v>351.10660665207013</c:v>
                </c:pt>
                <c:pt idx="37">
                  <c:v>354.20895997662848</c:v>
                </c:pt>
                <c:pt idx="38">
                  <c:v>357.15391951575242</c:v>
                </c:pt>
                <c:pt idx="39">
                  <c:v>359.95099371451954</c:v>
                </c:pt>
                <c:pt idx="40">
                  <c:v>362.59525267625713</c:v>
                </c:pt>
                <c:pt idx="41">
                  <c:v>365.09515914827847</c:v>
                </c:pt>
                <c:pt idx="42">
                  <c:v>367.4570788235601</c:v>
                </c:pt>
                <c:pt idx="43">
                  <c:v>369.69012379188916</c:v>
                </c:pt>
                <c:pt idx="44">
                  <c:v>371.813749624146</c:v>
                </c:pt>
                <c:pt idx="45">
                  <c:v>373.82139408604559</c:v>
                </c:pt>
                <c:pt idx="46">
                  <c:v>375.72854303535405</c:v>
                </c:pt>
                <c:pt idx="47">
                  <c:v>377.53513535087387</c:v>
                </c:pt>
                <c:pt idx="48">
                  <c:v>379.24723553782383</c:v>
                </c:pt>
                <c:pt idx="49">
                  <c:v>380.87703839479366</c:v>
                </c:pt>
                <c:pt idx="50">
                  <c:v>382.42795601528684</c:v>
                </c:pt>
                <c:pt idx="51">
                  <c:v>383.90189486521342</c:v>
                </c:pt>
                <c:pt idx="52">
                  <c:v>385.30484989381364</c:v>
                </c:pt>
                <c:pt idx="53">
                  <c:v>386.64119018313329</c:v>
                </c:pt>
                <c:pt idx="54">
                  <c:v>387.91358943481322</c:v>
                </c:pt>
                <c:pt idx="55">
                  <c:v>389.12801741604267</c:v>
                </c:pt>
                <c:pt idx="56">
                  <c:v>390.28773750183166</c:v>
                </c:pt>
                <c:pt idx="57">
                  <c:v>391.39465017767446</c:v>
                </c:pt>
                <c:pt idx="58">
                  <c:v>392.45087470367775</c:v>
                </c:pt>
                <c:pt idx="59">
                  <c:v>393.46808784968641</c:v>
                </c:pt>
                <c:pt idx="60">
                  <c:v>394.43968335042786</c:v>
                </c:pt>
                <c:pt idx="61">
                  <c:v>395.37009204440693</c:v>
                </c:pt>
                <c:pt idx="62">
                  <c:v>396.26153020567568</c:v>
                </c:pt>
                <c:pt idx="63">
                  <c:v>397.1204679295443</c:v>
                </c:pt>
                <c:pt idx="64">
                  <c:v>397.94381958338829</c:v>
                </c:pt>
                <c:pt idx="65">
                  <c:v>398.73714441500351</c:v>
                </c:pt>
                <c:pt idx="66">
                  <c:v>399.50220309447036</c:v>
                </c:pt>
                <c:pt idx="67">
                  <c:v>400.2452753508494</c:v>
                </c:pt>
                <c:pt idx="68">
                  <c:v>400.95800564327197</c:v>
                </c:pt>
                <c:pt idx="69">
                  <c:v>401.6500213631578</c:v>
                </c:pt>
                <c:pt idx="70">
                  <c:v>402.31852092071495</c:v>
                </c:pt>
                <c:pt idx="71">
                  <c:v>402.96358776697082</c:v>
                </c:pt>
                <c:pt idx="72">
                  <c:v>403.59100113407806</c:v>
                </c:pt>
                <c:pt idx="73">
                  <c:v>404.19704281909185</c:v>
                </c:pt>
                <c:pt idx="74">
                  <c:v>404.79182336360032</c:v>
                </c:pt>
                <c:pt idx="75">
                  <c:v>405.36723531555174</c:v>
                </c:pt>
                <c:pt idx="76">
                  <c:v>405.9275131204638</c:v>
                </c:pt>
                <c:pt idx="77">
                  <c:v>406.46850128999256</c:v>
                </c:pt>
                <c:pt idx="78">
                  <c:v>407.000190740012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9B-4AD1-B884-596DDD38F894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9B-4AD1-B884-596DDD38F894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32.75104525498045</c:v>
                </c:pt>
                <c:pt idx="32">
                  <c:v>337.29467890342204</c:v>
                </c:pt>
                <c:pt idx="33">
                  <c:v>341.64655522870783</c:v>
                </c:pt>
                <c:pt idx="34">
                  <c:v>345.78524575816346</c:v>
                </c:pt>
                <c:pt idx="35">
                  <c:v>349.76179797782663</c:v>
                </c:pt>
                <c:pt idx="36">
                  <c:v>353.66307379288145</c:v>
                </c:pt>
                <c:pt idx="37">
                  <c:v>357.52656545370911</c:v>
                </c:pt>
                <c:pt idx="38">
                  <c:v>361.34977616072189</c:v>
                </c:pt>
                <c:pt idx="39">
                  <c:v>365.11528876371909</c:v>
                </c:pt>
                <c:pt idx="40">
                  <c:v>368.80782949649296</c:v>
                </c:pt>
                <c:pt idx="41">
                  <c:v>372.42680029185249</c:v>
                </c:pt>
                <c:pt idx="42">
                  <c:v>375.99091465166993</c:v>
                </c:pt>
                <c:pt idx="43">
                  <c:v>379.50959729164327</c:v>
                </c:pt>
                <c:pt idx="44">
                  <c:v>382.99043606152122</c:v>
                </c:pt>
                <c:pt idx="45">
                  <c:v>386.41782192267596</c:v>
                </c:pt>
                <c:pt idx="46">
                  <c:v>389.79286462896249</c:v>
                </c:pt>
                <c:pt idx="47">
                  <c:v>393.11576682375471</c:v>
                </c:pt>
                <c:pt idx="48">
                  <c:v>396.39557132592637</c:v>
                </c:pt>
                <c:pt idx="49">
                  <c:v>399.63284786894468</c:v>
                </c:pt>
                <c:pt idx="50">
                  <c:v>402.82697719372732</c:v>
                </c:pt>
                <c:pt idx="51">
                  <c:v>405.98266441508122</c:v>
                </c:pt>
                <c:pt idx="52">
                  <c:v>409.09428024095939</c:v>
                </c:pt>
                <c:pt idx="53">
                  <c:v>412.16247645814258</c:v>
                </c:pt>
                <c:pt idx="54">
                  <c:v>415.19302917996924</c:v>
                </c:pt>
                <c:pt idx="55">
                  <c:v>418.18599651310672</c:v>
                </c:pt>
                <c:pt idx="56">
                  <c:v>421.14249556223166</c:v>
                </c:pt>
                <c:pt idx="57">
                  <c:v>424.05784800425232</c:v>
                </c:pt>
                <c:pt idx="58">
                  <c:v>426.93706047176465</c:v>
                </c:pt>
                <c:pt idx="59">
                  <c:v>429.78090777557867</c:v>
                </c:pt>
                <c:pt idx="60">
                  <c:v>432.59025516846441</c:v>
                </c:pt>
                <c:pt idx="61">
                  <c:v>435.36474465662695</c:v>
                </c:pt>
                <c:pt idx="62">
                  <c:v>438.10491215936355</c:v>
                </c:pt>
                <c:pt idx="63">
                  <c:v>440.81098712649379</c:v>
                </c:pt>
                <c:pt idx="64">
                  <c:v>443.48321493423578</c:v>
                </c:pt>
                <c:pt idx="65">
                  <c:v>446.12707667856029</c:v>
                </c:pt>
                <c:pt idx="66">
                  <c:v>448.73859940280181</c:v>
                </c:pt>
                <c:pt idx="67">
                  <c:v>451.31735886897172</c:v>
                </c:pt>
                <c:pt idx="68">
                  <c:v>453.86867441492745</c:v>
                </c:pt>
                <c:pt idx="69">
                  <c:v>456.38853020558543</c:v>
                </c:pt>
                <c:pt idx="70">
                  <c:v>458.88164962211567</c:v>
                </c:pt>
                <c:pt idx="71">
                  <c:v>461.34393706619841</c:v>
                </c:pt>
                <c:pt idx="72">
                  <c:v>463.78004848326339</c:v>
                </c:pt>
                <c:pt idx="73">
                  <c:v>466.18575451031597</c:v>
                </c:pt>
                <c:pt idx="74">
                  <c:v>468.56568927546857</c:v>
                </c:pt>
                <c:pt idx="75">
                  <c:v>470.92079836874632</c:v>
                </c:pt>
                <c:pt idx="76">
                  <c:v>473.24625255573767</c:v>
                </c:pt>
                <c:pt idx="77">
                  <c:v>475.5517393023041</c:v>
                </c:pt>
                <c:pt idx="78">
                  <c:v>477.82878995860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9B-4AD1-B884-596DDD38F89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32.93908384344633</c:v>
                </c:pt>
                <c:pt idx="32">
                  <c:v>337.80913576679734</c:v>
                </c:pt>
                <c:pt idx="33">
                  <c:v>342.56818939241657</c:v>
                </c:pt>
                <c:pt idx="34">
                  <c:v>347.16605808256679</c:v>
                </c:pt>
                <c:pt idx="35">
                  <c:v>351.70065767599539</c:v>
                </c:pt>
                <c:pt idx="36">
                  <c:v>356.2928296021488</c:v>
                </c:pt>
                <c:pt idx="37">
                  <c:v>361.00769847407946</c:v>
                </c:pt>
                <c:pt idx="38">
                  <c:v>365.85222733608072</c:v>
                </c:pt>
                <c:pt idx="39">
                  <c:v>370.76643563597941</c:v>
                </c:pt>
                <c:pt idx="40">
                  <c:v>375.72464828061243</c:v>
                </c:pt>
                <c:pt idx="41">
                  <c:v>380.74586730718238</c:v>
                </c:pt>
                <c:pt idx="42">
                  <c:v>385.87414769304735</c:v>
                </c:pt>
                <c:pt idx="43">
                  <c:v>391.12974975625025</c:v>
                </c:pt>
                <c:pt idx="44">
                  <c:v>396.50311392476891</c:v>
                </c:pt>
                <c:pt idx="45">
                  <c:v>401.97652048319139</c:v>
                </c:pt>
                <c:pt idx="46">
                  <c:v>407.54047378537268</c:v>
                </c:pt>
                <c:pt idx="47">
                  <c:v>413.21441001130916</c:v>
                </c:pt>
                <c:pt idx="48">
                  <c:v>419.01125777215941</c:v>
                </c:pt>
                <c:pt idx="49">
                  <c:v>424.933215309454</c:v>
                </c:pt>
                <c:pt idx="50">
                  <c:v>430.98055153864436</c:v>
                </c:pt>
                <c:pt idx="51">
                  <c:v>437.14327057717549</c:v>
                </c:pt>
                <c:pt idx="52">
                  <c:v>443.41855716541733</c:v>
                </c:pt>
                <c:pt idx="53">
                  <c:v>449.82305644299601</c:v>
                </c:pt>
                <c:pt idx="54">
                  <c:v>456.36577525799544</c:v>
                </c:pt>
                <c:pt idx="55">
                  <c:v>463.04285828012451</c:v>
                </c:pt>
                <c:pt idx="56">
                  <c:v>469.85024358100304</c:v>
                </c:pt>
                <c:pt idx="57">
                  <c:v>476.79300592504092</c:v>
                </c:pt>
                <c:pt idx="58">
                  <c:v>483.87318737038458</c:v>
                </c:pt>
                <c:pt idx="59">
                  <c:v>491.09178742958056</c:v>
                </c:pt>
                <c:pt idx="60">
                  <c:v>498.46062163992599</c:v>
                </c:pt>
                <c:pt idx="61">
                  <c:v>505.97152768251044</c:v>
                </c:pt>
                <c:pt idx="62">
                  <c:v>513.63459122471124</c:v>
                </c:pt>
                <c:pt idx="63">
                  <c:v>521.44720755524725</c:v>
                </c:pt>
                <c:pt idx="64">
                  <c:v>529.41494757293094</c:v>
                </c:pt>
                <c:pt idx="65">
                  <c:v>537.53969679435738</c:v>
                </c:pt>
                <c:pt idx="66">
                  <c:v>545.82801899005881</c:v>
                </c:pt>
                <c:pt idx="67">
                  <c:v>554.27689689645183</c:v>
                </c:pt>
                <c:pt idx="68">
                  <c:v>562.89199587387543</c:v>
                </c:pt>
                <c:pt idx="69">
                  <c:v>571.67007853266364</c:v>
                </c:pt>
                <c:pt idx="70">
                  <c:v>580.62175518710217</c:v>
                </c:pt>
                <c:pt idx="71">
                  <c:v>589.74989903020105</c:v>
                </c:pt>
                <c:pt idx="72">
                  <c:v>599.05078229046296</c:v>
                </c:pt>
                <c:pt idx="73">
                  <c:v>608.53509410916922</c:v>
                </c:pt>
                <c:pt idx="74">
                  <c:v>618.20571484148741</c:v>
                </c:pt>
                <c:pt idx="75">
                  <c:v>628.05908863601235</c:v>
                </c:pt>
                <c:pt idx="76">
                  <c:v>638.10088515696532</c:v>
                </c:pt>
                <c:pt idx="77">
                  <c:v>648.33839462168783</c:v>
                </c:pt>
                <c:pt idx="78">
                  <c:v>658.77397903374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B9B-4AD1-B884-596DDD38F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61</c:v>
                </c:pt>
                <c:pt idx="1">
                  <c:v>162</c:v>
                </c:pt>
                <c:pt idx="2">
                  <c:v>175</c:v>
                </c:pt>
                <c:pt idx="3">
                  <c:v>166</c:v>
                </c:pt>
                <c:pt idx="4">
                  <c:v>151</c:v>
                </c:pt>
                <c:pt idx="5">
                  <c:v>138</c:v>
                </c:pt>
                <c:pt idx="6">
                  <c:v>129</c:v>
                </c:pt>
                <c:pt idx="7">
                  <c:v>115</c:v>
                </c:pt>
                <c:pt idx="8">
                  <c:v>109</c:v>
                </c:pt>
                <c:pt idx="9">
                  <c:v>114</c:v>
                </c:pt>
                <c:pt idx="10">
                  <c:v>104</c:v>
                </c:pt>
                <c:pt idx="11">
                  <c:v>100</c:v>
                </c:pt>
                <c:pt idx="12">
                  <c:v>91</c:v>
                </c:pt>
                <c:pt idx="13">
                  <c:v>85</c:v>
                </c:pt>
                <c:pt idx="14">
                  <c:v>73</c:v>
                </c:pt>
                <c:pt idx="15">
                  <c:v>74</c:v>
                </c:pt>
                <c:pt idx="16">
                  <c:v>82</c:v>
                </c:pt>
                <c:pt idx="17">
                  <c:v>65</c:v>
                </c:pt>
                <c:pt idx="18">
                  <c:v>58</c:v>
                </c:pt>
                <c:pt idx="19">
                  <c:v>49</c:v>
                </c:pt>
                <c:pt idx="20">
                  <c:v>44</c:v>
                </c:pt>
                <c:pt idx="21">
                  <c:v>34</c:v>
                </c:pt>
                <c:pt idx="22">
                  <c:v>37</c:v>
                </c:pt>
                <c:pt idx="23">
                  <c:v>38</c:v>
                </c:pt>
                <c:pt idx="24">
                  <c:v>32</c:v>
                </c:pt>
                <c:pt idx="25">
                  <c:v>30</c:v>
                </c:pt>
                <c:pt idx="26">
                  <c:v>28</c:v>
                </c:pt>
                <c:pt idx="27">
                  <c:v>22</c:v>
                </c:pt>
                <c:pt idx="28">
                  <c:v>20</c:v>
                </c:pt>
                <c:pt idx="29">
                  <c:v>21</c:v>
                </c:pt>
                <c:pt idx="30">
                  <c:v>21</c:v>
                </c:pt>
                <c:pt idx="31">
                  <c:v>18</c:v>
                </c:pt>
                <c:pt idx="32">
                  <c:v>12</c:v>
                </c:pt>
                <c:pt idx="33">
                  <c:v>13</c:v>
                </c:pt>
                <c:pt idx="34">
                  <c:v>12</c:v>
                </c:pt>
                <c:pt idx="35">
                  <c:v>9</c:v>
                </c:pt>
                <c:pt idx="36">
                  <c:v>8</c:v>
                </c:pt>
                <c:pt idx="37">
                  <c:v>11</c:v>
                </c:pt>
                <c:pt idx="38">
                  <c:v>9</c:v>
                </c:pt>
                <c:pt idx="39">
                  <c:v>10</c:v>
                </c:pt>
                <c:pt idx="40">
                  <c:v>12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7.115081365215481</c:v>
                </c:pt>
                <c:pt idx="32">
                  <c:v>15.814821367512529</c:v>
                </c:pt>
                <c:pt idx="33">
                  <c:v>14.609264680145962</c:v>
                </c:pt>
                <c:pt idx="34">
                  <c:v>13.472620030428004</c:v>
                </c:pt>
                <c:pt idx="35">
                  <c:v>12.417189734171668</c:v>
                </c:pt>
                <c:pt idx="36">
                  <c:v>11.472060966975139</c:v>
                </c:pt>
                <c:pt idx="37">
                  <c:v>10.5919540569163</c:v>
                </c:pt>
                <c:pt idx="38">
                  <c:v>9.7389017007164025</c:v>
                </c:pt>
                <c:pt idx="39">
                  <c:v>8.9374425120950658</c:v>
                </c:pt>
                <c:pt idx="40">
                  <c:v>8.191109151947666</c:v>
                </c:pt>
                <c:pt idx="41">
                  <c:v>7.4918556881978828</c:v>
                </c:pt>
                <c:pt idx="42">
                  <c:v>6.8570487987497568</c:v>
                </c:pt>
                <c:pt idx="43">
                  <c:v>6.2821412477238647</c:v>
                </c:pt>
                <c:pt idx="44">
                  <c:v>5.7351243277444084</c:v>
                </c:pt>
                <c:pt idx="45">
                  <c:v>5.2062745509973158</c:v>
                </c:pt>
                <c:pt idx="46">
                  <c:v>4.7121092945474583</c:v>
                </c:pt>
                <c:pt idx="47">
                  <c:v>4.2536916438578958</c:v>
                </c:pt>
                <c:pt idx="48">
                  <c:v>3.8254129273029349</c:v>
                </c:pt>
                <c:pt idx="49">
                  <c:v>3.4260329392231927</c:v>
                </c:pt>
                <c:pt idx="50">
                  <c:v>3.0589852659423231</c:v>
                </c:pt>
                <c:pt idx="51">
                  <c:v>2.7088534605895616</c:v>
                </c:pt>
                <c:pt idx="52">
                  <c:v>2.3785255755381689</c:v>
                </c:pt>
                <c:pt idx="53">
                  <c:v>2.070914091414187</c:v>
                </c:pt>
                <c:pt idx="54">
                  <c:v>1.7825026340981551</c:v>
                </c:pt>
                <c:pt idx="55">
                  <c:v>1.5107544888257693</c:v>
                </c:pt>
                <c:pt idx="56">
                  <c:v>1.2567082153237303</c:v>
                </c:pt>
                <c:pt idx="57">
                  <c:v>1.0214111474935756</c:v>
                </c:pt>
                <c:pt idx="58">
                  <c:v>0.79537756441162388</c:v>
                </c:pt>
                <c:pt idx="59">
                  <c:v>0.587355943759302</c:v>
                </c:pt>
                <c:pt idx="60">
                  <c:v>0.39178278780660425</c:v>
                </c:pt>
                <c:pt idx="61">
                  <c:v>0.20699699811879213</c:v>
                </c:pt>
                <c:pt idx="62">
                  <c:v>3.16985295937592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F-45C7-A990-6125879C6765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F-45C7-A990-6125879C6765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7.156028928254216</c:v>
                </c:pt>
                <c:pt idx="32">
                  <c:v>15.924890018519019</c:v>
                </c:pt>
                <c:pt idx="33">
                  <c:v>14.805028266806561</c:v>
                </c:pt>
                <c:pt idx="34">
                  <c:v>13.763521905706529</c:v>
                </c:pt>
                <c:pt idx="35">
                  <c:v>12.815145389331361</c:v>
                </c:pt>
                <c:pt idx="36">
                  <c:v>11.994004741090315</c:v>
                </c:pt>
                <c:pt idx="37">
                  <c:v>11.257905969082332</c:v>
                </c:pt>
                <c:pt idx="38">
                  <c:v>10.56642230221944</c:v>
                </c:pt>
                <c:pt idx="39">
                  <c:v>9.9363800896714913</c:v>
                </c:pt>
                <c:pt idx="40">
                  <c:v>9.3676529898591596</c:v>
                </c:pt>
                <c:pt idx="41">
                  <c:v>8.8491728379450834</c:v>
                </c:pt>
                <c:pt idx="42">
                  <c:v>8.4001067433174992</c:v>
                </c:pt>
                <c:pt idx="43">
                  <c:v>8.0151845192321876</c:v>
                </c:pt>
                <c:pt idx="44">
                  <c:v>7.6591196825539747</c:v>
                </c:pt>
                <c:pt idx="45">
                  <c:v>7.3192428910784759</c:v>
                </c:pt>
                <c:pt idx="46">
                  <c:v>7.0079663543793789</c:v>
                </c:pt>
                <c:pt idx="47">
                  <c:v>6.7261418460120801</c:v>
                </c:pt>
                <c:pt idx="48">
                  <c:v>6.4693168914807337</c:v>
                </c:pt>
                <c:pt idx="49">
                  <c:v>6.2341390262766794</c:v>
                </c:pt>
                <c:pt idx="50">
                  <c:v>6.0234040267368529</c:v>
                </c:pt>
                <c:pt idx="51">
                  <c:v>5.8225153582817519</c:v>
                </c:pt>
                <c:pt idx="52">
                  <c:v>5.6320460215301873</c:v>
                </c:pt>
                <c:pt idx="53">
                  <c:v>5.4545918496095265</c:v>
                </c:pt>
                <c:pt idx="54">
                  <c:v>5.2881699865879082</c:v>
                </c:pt>
                <c:pt idx="55">
                  <c:v>5.1298247681027274</c:v>
                </c:pt>
                <c:pt idx="56">
                  <c:v>4.9809017846428869</c:v>
                </c:pt>
                <c:pt idx="57">
                  <c:v>4.8416734981426615</c:v>
                </c:pt>
                <c:pt idx="58">
                  <c:v>4.703971054878723</c:v>
                </c:pt>
                <c:pt idx="59">
                  <c:v>4.5749243491048581</c:v>
                </c:pt>
                <c:pt idx="60">
                  <c:v>4.4514314205263217</c:v>
                </c:pt>
                <c:pt idx="61">
                  <c:v>4.3316238484154184</c:v>
                </c:pt>
                <c:pt idx="62">
                  <c:v>4.2145702381947947</c:v>
                </c:pt>
                <c:pt idx="63">
                  <c:v>4.104452163744142</c:v>
                </c:pt>
                <c:pt idx="64">
                  <c:v>3.9987114050328429</c:v>
                </c:pt>
                <c:pt idx="65">
                  <c:v>3.8943382171356484</c:v>
                </c:pt>
                <c:pt idx="66">
                  <c:v>3.7936219634440302</c:v>
                </c:pt>
                <c:pt idx="67">
                  <c:v>3.6958890413855419</c:v>
                </c:pt>
                <c:pt idx="68">
                  <c:v>3.6018094467731268</c:v>
                </c:pt>
                <c:pt idx="69">
                  <c:v>3.510065034616153</c:v>
                </c:pt>
                <c:pt idx="70">
                  <c:v>3.4219483522000922</c:v>
                </c:pt>
                <c:pt idx="71">
                  <c:v>3.3362008820055351</c:v>
                </c:pt>
                <c:pt idx="72">
                  <c:v>3.2511479291341994</c:v>
                </c:pt>
                <c:pt idx="73">
                  <c:v>3.1686194657711328</c:v>
                </c:pt>
                <c:pt idx="74">
                  <c:v>3.0891758389125235</c:v>
                </c:pt>
                <c:pt idx="75">
                  <c:v>3.0115675613728099</c:v>
                </c:pt>
                <c:pt idx="76">
                  <c:v>2.934004727535227</c:v>
                </c:pt>
                <c:pt idx="77">
                  <c:v>2.8611339991341973</c:v>
                </c:pt>
                <c:pt idx="78">
                  <c:v>2.7888110631999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F-45C7-A990-6125879C676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7.196976491292947</c:v>
                </c:pt>
                <c:pt idx="32">
                  <c:v>16.036096101832143</c:v>
                </c:pt>
                <c:pt idx="33">
                  <c:v>15.002143167535166</c:v>
                </c:pt>
                <c:pt idx="34">
                  <c:v>14.054706748447035</c:v>
                </c:pt>
                <c:pt idx="35">
                  <c:v>13.217767780120237</c:v>
                </c:pt>
                <c:pt idx="36">
                  <c:v>12.5316834049984</c:v>
                </c:pt>
                <c:pt idx="37">
                  <c:v>11.958846807626486</c:v>
                </c:pt>
                <c:pt idx="38">
                  <c:v>11.459100090681027</c:v>
                </c:pt>
                <c:pt idx="39">
                  <c:v>11.037715046581557</c:v>
                </c:pt>
                <c:pt idx="40">
                  <c:v>10.690423990248652</c:v>
                </c:pt>
                <c:pt idx="41">
                  <c:v>10.408892610787522</c:v>
                </c:pt>
                <c:pt idx="42">
                  <c:v>10.216289967551559</c:v>
                </c:pt>
                <c:pt idx="43">
                  <c:v>10.108065047841315</c:v>
                </c:pt>
                <c:pt idx="44">
                  <c:v>10.043516708791547</c:v>
                </c:pt>
                <c:pt idx="45">
                  <c:v>10.00751134100666</c:v>
                </c:pt>
                <c:pt idx="46">
                  <c:v>10.008064713546654</c:v>
                </c:pt>
                <c:pt idx="47">
                  <c:v>10.048872754170084</c:v>
                </c:pt>
                <c:pt idx="48">
                  <c:v>10.125682066272152</c:v>
                </c:pt>
                <c:pt idx="49">
                  <c:v>10.234593262701146</c:v>
                </c:pt>
                <c:pt idx="50">
                  <c:v>10.377353512192993</c:v>
                </c:pt>
                <c:pt idx="51">
                  <c:v>10.534880606054854</c:v>
                </c:pt>
                <c:pt idx="52">
                  <c:v>10.707222372445489</c:v>
                </c:pt>
                <c:pt idx="53">
                  <c:v>10.899638161626607</c:v>
                </c:pt>
                <c:pt idx="54">
                  <c:v>11.110438096350583</c:v>
                </c:pt>
                <c:pt idx="55">
                  <c:v>11.335345460862591</c:v>
                </c:pt>
                <c:pt idx="56">
                  <c:v>11.573893500369728</c:v>
                </c:pt>
                <c:pt idx="57">
                  <c:v>11.827715928813078</c:v>
                </c:pt>
                <c:pt idx="58">
                  <c:v>12.087374771229593</c:v>
                </c:pt>
                <c:pt idx="59">
                  <c:v>12.359637090768166</c:v>
                </c:pt>
                <c:pt idx="60">
                  <c:v>12.643434060697071</c:v>
                </c:pt>
                <c:pt idx="61">
                  <c:v>12.934807927246123</c:v>
                </c:pt>
                <c:pt idx="62">
                  <c:v>13.234459572399395</c:v>
                </c:pt>
                <c:pt idx="63">
                  <c:v>13.545429414945298</c:v>
                </c:pt>
                <c:pt idx="64">
                  <c:v>13.865871736194538</c:v>
                </c:pt>
                <c:pt idx="65">
                  <c:v>14.191625501053014</c:v>
                </c:pt>
                <c:pt idx="66">
                  <c:v>14.526956884221986</c:v>
                </c:pt>
                <c:pt idx="67">
                  <c:v>14.870206615862813</c:v>
                </c:pt>
                <c:pt idx="68">
                  <c:v>15.221622357414592</c:v>
                </c:pt>
                <c:pt idx="69">
                  <c:v>15.579604703939401</c:v>
                </c:pt>
                <c:pt idx="70">
                  <c:v>15.946344633298164</c:v>
                </c:pt>
                <c:pt idx="71">
                  <c:v>16.321704698328425</c:v>
                </c:pt>
                <c:pt idx="72">
                  <c:v>16.701757724147665</c:v>
                </c:pt>
                <c:pt idx="73">
                  <c:v>17.091169269538305</c:v>
                </c:pt>
                <c:pt idx="74">
                  <c:v>17.489622081871616</c:v>
                </c:pt>
                <c:pt idx="75">
                  <c:v>17.894412246618263</c:v>
                </c:pt>
                <c:pt idx="76">
                  <c:v>18.305578558061811</c:v>
                </c:pt>
                <c:pt idx="77">
                  <c:v>18.726793758962707</c:v>
                </c:pt>
                <c:pt idx="78">
                  <c:v>19.155780473766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4F-45C7-A990-6125879C676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4F-45C7-A990-6125879C6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7</c:v>
                </c:pt>
                <c:pt idx="1">
                  <c:v>48</c:v>
                </c:pt>
                <c:pt idx="2">
                  <c:v>99</c:v>
                </c:pt>
                <c:pt idx="3">
                  <c:v>128</c:v>
                </c:pt>
                <c:pt idx="4">
                  <c:v>158</c:v>
                </c:pt>
                <c:pt idx="5">
                  <c:v>191</c:v>
                </c:pt>
                <c:pt idx="6">
                  <c:v>219</c:v>
                </c:pt>
                <c:pt idx="7">
                  <c:v>237</c:v>
                </c:pt>
                <c:pt idx="8">
                  <c:v>251</c:v>
                </c:pt>
                <c:pt idx="9">
                  <c:v>275</c:v>
                </c:pt>
                <c:pt idx="10">
                  <c:v>295</c:v>
                </c:pt>
                <c:pt idx="11">
                  <c:v>317</c:v>
                </c:pt>
                <c:pt idx="12">
                  <c:v>337</c:v>
                </c:pt>
                <c:pt idx="13">
                  <c:v>359</c:v>
                </c:pt>
                <c:pt idx="14">
                  <c:v>363</c:v>
                </c:pt>
                <c:pt idx="15">
                  <c:v>372</c:v>
                </c:pt>
                <c:pt idx="16">
                  <c:v>390</c:v>
                </c:pt>
                <c:pt idx="17">
                  <c:v>408</c:v>
                </c:pt>
                <c:pt idx="18">
                  <c:v>421</c:v>
                </c:pt>
                <c:pt idx="19">
                  <c:v>436</c:v>
                </c:pt>
                <c:pt idx="20">
                  <c:v>446</c:v>
                </c:pt>
                <c:pt idx="21">
                  <c:v>449</c:v>
                </c:pt>
                <c:pt idx="22">
                  <c:v>453</c:v>
                </c:pt>
                <c:pt idx="23">
                  <c:v>462</c:v>
                </c:pt>
                <c:pt idx="24">
                  <c:v>472</c:v>
                </c:pt>
                <c:pt idx="25">
                  <c:v>483</c:v>
                </c:pt>
                <c:pt idx="26">
                  <c:v>490</c:v>
                </c:pt>
                <c:pt idx="27">
                  <c:v>496</c:v>
                </c:pt>
                <c:pt idx="28">
                  <c:v>499</c:v>
                </c:pt>
                <c:pt idx="29">
                  <c:v>501</c:v>
                </c:pt>
                <c:pt idx="30">
                  <c:v>510</c:v>
                </c:pt>
                <c:pt idx="31">
                  <c:v>514</c:v>
                </c:pt>
                <c:pt idx="32">
                  <c:v>520</c:v>
                </c:pt>
                <c:pt idx="33">
                  <c:v>524</c:v>
                </c:pt>
                <c:pt idx="34">
                  <c:v>528</c:v>
                </c:pt>
                <c:pt idx="35">
                  <c:v>529</c:v>
                </c:pt>
                <c:pt idx="36">
                  <c:v>529</c:v>
                </c:pt>
                <c:pt idx="37">
                  <c:v>529</c:v>
                </c:pt>
                <c:pt idx="38">
                  <c:v>533</c:v>
                </c:pt>
                <c:pt idx="39">
                  <c:v>536</c:v>
                </c:pt>
                <c:pt idx="40">
                  <c:v>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14.7667784859002</c:v>
                </c:pt>
                <c:pt idx="32">
                  <c:v>519.17966796467442</c:v>
                </c:pt>
                <c:pt idx="33">
                  <c:v>523.30268504878188</c:v>
                </c:pt>
                <c:pt idx="34">
                  <c:v>527.14220097117595</c:v>
                </c:pt>
                <c:pt idx="35">
                  <c:v>530.73563482532029</c:v>
                </c:pt>
                <c:pt idx="36">
                  <c:v>534.1444091008824</c:v>
                </c:pt>
                <c:pt idx="37">
                  <c:v>537.38747857169221</c:v>
                </c:pt>
                <c:pt idx="38">
                  <c:v>540.46644488641846</c:v>
                </c:pt>
                <c:pt idx="39">
                  <c:v>543.39129864297115</c:v>
                </c:pt>
                <c:pt idx="40">
                  <c:v>546.15645506641465</c:v>
                </c:pt>
                <c:pt idx="41">
                  <c:v>548.77052564237829</c:v>
                </c:pt>
                <c:pt idx="42">
                  <c:v>551.24033741486653</c:v>
                </c:pt>
                <c:pt idx="43">
                  <c:v>553.57543519982562</c:v>
                </c:pt>
                <c:pt idx="44">
                  <c:v>555.79613391733596</c:v>
                </c:pt>
                <c:pt idx="45">
                  <c:v>557.89553557384136</c:v>
                </c:pt>
                <c:pt idx="46">
                  <c:v>559.88982907537979</c:v>
                </c:pt>
                <c:pt idx="47">
                  <c:v>561.77891529910539</c:v>
                </c:pt>
                <c:pt idx="48">
                  <c:v>563.56916678200935</c:v>
                </c:pt>
                <c:pt idx="49">
                  <c:v>565.27324023254459</c:v>
                </c:pt>
                <c:pt idx="50">
                  <c:v>566.8948244415509</c:v>
                </c:pt>
                <c:pt idx="51">
                  <c:v>568.43596916013496</c:v>
                </c:pt>
                <c:pt idx="52">
                  <c:v>569.90283088818512</c:v>
                </c:pt>
                <c:pt idx="53">
                  <c:v>571.30000144685334</c:v>
                </c:pt>
                <c:pt idx="54">
                  <c:v>572.63032314703162</c:v>
                </c:pt>
                <c:pt idx="55">
                  <c:v>573.89995388539739</c:v>
                </c:pt>
                <c:pt idx="56">
                  <c:v>575.11235100023509</c:v>
                </c:pt>
                <c:pt idx="57">
                  <c:v>576.26953363493317</c:v>
                </c:pt>
                <c:pt idx="58">
                  <c:v>577.37374681018855</c:v>
                </c:pt>
                <c:pt idx="59">
                  <c:v>578.43705543824717</c:v>
                </c:pt>
                <c:pt idx="60">
                  <c:v>579.45269166481114</c:v>
                </c:pt>
                <c:pt idx="61">
                  <c:v>580.42524814955846</c:v>
                </c:pt>
                <c:pt idx="62">
                  <c:v>581.3570511484246</c:v>
                </c:pt>
                <c:pt idx="63">
                  <c:v>582.25482469529118</c:v>
                </c:pt>
                <c:pt idx="64">
                  <c:v>583.11539872776927</c:v>
                </c:pt>
                <c:pt idx="65">
                  <c:v>583.94455208103193</c:v>
                </c:pt>
                <c:pt idx="66">
                  <c:v>584.74412527210131</c:v>
                </c:pt>
                <c:pt idx="67">
                  <c:v>585.52063948433261</c:v>
                </c:pt>
                <c:pt idx="68">
                  <c:v>586.2654642725505</c:v>
                </c:pt>
                <c:pt idx="69">
                  <c:v>586.98858856530921</c:v>
                </c:pt>
                <c:pt idx="70">
                  <c:v>587.68712488671883</c:v>
                </c:pt>
                <c:pt idx="71">
                  <c:v>588.36118062661296</c:v>
                </c:pt>
                <c:pt idx="72">
                  <c:v>589.01675304181754</c:v>
                </c:pt>
                <c:pt idx="73">
                  <c:v>589.65000133695855</c:v>
                </c:pt>
                <c:pt idx="74">
                  <c:v>590.27140793067974</c:v>
                </c:pt>
                <c:pt idx="75">
                  <c:v>590.87258367648133</c:v>
                </c:pt>
                <c:pt idx="76">
                  <c:v>591.45792851660508</c:v>
                </c:pt>
                <c:pt idx="77">
                  <c:v>592.02314537062205</c:v>
                </c:pt>
                <c:pt idx="78">
                  <c:v>592.57858847985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DD-4C02-A710-172C7DEC39E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DD-4C02-A710-172C7DEC39E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14.96146986575184</c:v>
                </c:pt>
                <c:pt idx="32">
                  <c:v>519.70693998420563</c:v>
                </c:pt>
                <c:pt idx="33">
                  <c:v>524.25067554029476</c:v>
                </c:pt>
                <c:pt idx="34">
                  <c:v>528.57114515086516</c:v>
                </c:pt>
                <c:pt idx="35">
                  <c:v>532.72254169363885</c:v>
                </c:pt>
                <c:pt idx="36">
                  <c:v>536.79537816894026</c:v>
                </c:pt>
                <c:pt idx="37">
                  <c:v>540.8293075391997</c:v>
                </c:pt>
                <c:pt idx="38">
                  <c:v>544.82134944556446</c:v>
                </c:pt>
                <c:pt idx="39">
                  <c:v>548.75362755050412</c:v>
                </c:pt>
                <c:pt idx="40">
                  <c:v>552.60982459814988</c:v>
                </c:pt>
                <c:pt idx="41">
                  <c:v>556.38911077672299</c:v>
                </c:pt>
                <c:pt idx="42">
                  <c:v>560.11104768679468</c:v>
                </c:pt>
                <c:pt idx="43">
                  <c:v>563.78547023190913</c:v>
                </c:pt>
                <c:pt idx="44">
                  <c:v>567.42036975875442</c:v>
                </c:pt>
                <c:pt idx="45">
                  <c:v>570.99943510065521</c:v>
                </c:pt>
                <c:pt idx="46">
                  <c:v>574.52390607857319</c:v>
                </c:pt>
                <c:pt idx="47">
                  <c:v>577.99390653760906</c:v>
                </c:pt>
                <c:pt idx="48">
                  <c:v>581.41883164015928</c:v>
                </c:pt>
                <c:pt idx="49">
                  <c:v>584.79926258084936</c:v>
                </c:pt>
                <c:pt idx="50">
                  <c:v>588.13467350485837</c:v>
                </c:pt>
                <c:pt idx="51">
                  <c:v>591.42996277195459</c:v>
                </c:pt>
                <c:pt idx="52">
                  <c:v>594.67920792431744</c:v>
                </c:pt>
                <c:pt idx="53">
                  <c:v>597.88311475847991</c:v>
                </c:pt>
                <c:pt idx="54">
                  <c:v>601.04769548103229</c:v>
                </c:pt>
                <c:pt idx="55">
                  <c:v>604.17295801961006</c:v>
                </c:pt>
                <c:pt idx="56">
                  <c:v>607.26011276499935</c:v>
                </c:pt>
                <c:pt idx="57">
                  <c:v>610.30434114378204</c:v>
                </c:pt>
                <c:pt idx="58">
                  <c:v>613.31085391359306</c:v>
                </c:pt>
                <c:pt idx="59">
                  <c:v>616.28040333438503</c:v>
                </c:pt>
                <c:pt idx="60">
                  <c:v>619.21393414262855</c:v>
                </c:pt>
                <c:pt idx="61">
                  <c:v>622.1110529002425</c:v>
                </c:pt>
                <c:pt idx="62">
                  <c:v>624.97232742136566</c:v>
                </c:pt>
                <c:pt idx="63">
                  <c:v>627.79800186818522</c:v>
                </c:pt>
                <c:pt idx="64">
                  <c:v>630.58833526657168</c:v>
                </c:pt>
                <c:pt idx="65">
                  <c:v>633.3490073371072</c:v>
                </c:pt>
                <c:pt idx="66">
                  <c:v>636.0759091976056</c:v>
                </c:pt>
                <c:pt idx="67">
                  <c:v>638.76861045998396</c:v>
                </c:pt>
                <c:pt idx="68">
                  <c:v>641.43262244651635</c:v>
                </c:pt>
                <c:pt idx="69">
                  <c:v>644.06379156881553</c:v>
                </c:pt>
                <c:pt idx="70">
                  <c:v>646.66701857182363</c:v>
                </c:pt>
                <c:pt idx="71">
                  <c:v>649.23806498982708</c:v>
                </c:pt>
                <c:pt idx="72">
                  <c:v>651.78175974741293</c:v>
                </c:pt>
                <c:pt idx="73">
                  <c:v>654.29372554848226</c:v>
                </c:pt>
                <c:pt idx="74">
                  <c:v>656.77876663177904</c:v>
                </c:pt>
                <c:pt idx="75">
                  <c:v>659.23786364555531</c:v>
                </c:pt>
                <c:pt idx="76">
                  <c:v>661.66602110103395</c:v>
                </c:pt>
                <c:pt idx="77">
                  <c:v>664.07327515226984</c:v>
                </c:pt>
                <c:pt idx="78">
                  <c:v>666.450856386467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3DD-4C02-A710-172C7DEC39E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15.15616124559995</c:v>
                </c:pt>
                <c:pt idx="32">
                  <c:v>520.23962009761885</c:v>
                </c:pt>
                <c:pt idx="33">
                  <c:v>525.20520033596608</c:v>
                </c:pt>
                <c:pt idx="34">
                  <c:v>530.00174868533759</c:v>
                </c:pt>
                <c:pt idx="35">
                  <c:v>534.73213825830669</c:v>
                </c:pt>
                <c:pt idx="36">
                  <c:v>539.52224853123721</c:v>
                </c:pt>
                <c:pt idx="37">
                  <c:v>544.44050544308743</c:v>
                </c:pt>
                <c:pt idx="38">
                  <c:v>549.49385067706498</c:v>
                </c:pt>
                <c:pt idx="39">
                  <c:v>554.62040270574175</c:v>
                </c:pt>
                <c:pt idx="40">
                  <c:v>559.79313152360658</c:v>
                </c:pt>
                <c:pt idx="41">
                  <c:v>565.03150578068323</c:v>
                </c:pt>
                <c:pt idx="42">
                  <c:v>570.38134480977567</c:v>
                </c:pt>
                <c:pt idx="43">
                  <c:v>575.86375151933078</c:v>
                </c:pt>
                <c:pt idx="44">
                  <c:v>581.46899677017188</c:v>
                </c:pt>
                <c:pt idx="45">
                  <c:v>587.17860413211724</c:v>
                </c:pt>
                <c:pt idx="46">
                  <c:v>592.98282663128384</c:v>
                </c:pt>
                <c:pt idx="47">
                  <c:v>598.90171972284645</c:v>
                </c:pt>
                <c:pt idx="48">
                  <c:v>604.94870691510425</c:v>
                </c:pt>
                <c:pt idx="49">
                  <c:v>611.12608620494495</c:v>
                </c:pt>
                <c:pt idx="50">
                  <c:v>617.43427005790511</c:v>
                </c:pt>
                <c:pt idx="51">
                  <c:v>623.86294640168398</c:v>
                </c:pt>
                <c:pt idx="52">
                  <c:v>630.40911934508074</c:v>
                </c:pt>
                <c:pt idx="53">
                  <c:v>637.09004988452273</c:v>
                </c:pt>
                <c:pt idx="54">
                  <c:v>643.91510176537372</c:v>
                </c:pt>
                <c:pt idx="55">
                  <c:v>650.88025196901231</c:v>
                </c:pt>
                <c:pt idx="56">
                  <c:v>657.98135913565989</c:v>
                </c:pt>
                <c:pt idx="57">
                  <c:v>665.2237131673528</c:v>
                </c:pt>
                <c:pt idx="58">
                  <c:v>672.60946403995558</c:v>
                </c:pt>
                <c:pt idx="59">
                  <c:v>680.13962075929055</c:v>
                </c:pt>
                <c:pt idx="60">
                  <c:v>687.82647545895406</c:v>
                </c:pt>
                <c:pt idx="61">
                  <c:v>695.6615680127718</c:v>
                </c:pt>
                <c:pt idx="62">
                  <c:v>703.65537463994917</c:v>
                </c:pt>
                <c:pt idx="63">
                  <c:v>711.80521207129004</c:v>
                </c:pt>
                <c:pt idx="64">
                  <c:v>720.11687129338316</c:v>
                </c:pt>
                <c:pt idx="65">
                  <c:v>728.59232466843662</c:v>
                </c:pt>
                <c:pt idx="66">
                  <c:v>737.23839099720067</c:v>
                </c:pt>
                <c:pt idx="67">
                  <c:v>746.05197050786376</c:v>
                </c:pt>
                <c:pt idx="68">
                  <c:v>755.03895474371006</c:v>
                </c:pt>
                <c:pt idx="69">
                  <c:v>764.1960151287293</c:v>
                </c:pt>
                <c:pt idx="70">
                  <c:v>773.53416097581794</c:v>
                </c:pt>
                <c:pt idx="71">
                  <c:v>783.05638588110764</c:v>
                </c:pt>
                <c:pt idx="72">
                  <c:v>792.75885517029587</c:v>
                </c:pt>
                <c:pt idx="73">
                  <c:v>802.65265948926685</c:v>
                </c:pt>
                <c:pt idx="74">
                  <c:v>812.74079826639627</c:v>
                </c:pt>
                <c:pt idx="75">
                  <c:v>823.01962050617522</c:v>
                </c:pt>
                <c:pt idx="76">
                  <c:v>833.49502375852217</c:v>
                </c:pt>
                <c:pt idx="77">
                  <c:v>844.17457854501231</c:v>
                </c:pt>
                <c:pt idx="78">
                  <c:v>855.060759937263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3DD-4C02-A710-172C7DEC39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1</c:v>
                </c:pt>
                <c:pt idx="1">
                  <c:v>193</c:v>
                </c:pt>
                <c:pt idx="2">
                  <c:v>210</c:v>
                </c:pt>
                <c:pt idx="3">
                  <c:v>194</c:v>
                </c:pt>
                <c:pt idx="4">
                  <c:v>187</c:v>
                </c:pt>
                <c:pt idx="5">
                  <c:v>179</c:v>
                </c:pt>
                <c:pt idx="6">
                  <c:v>178</c:v>
                </c:pt>
                <c:pt idx="7">
                  <c:v>152</c:v>
                </c:pt>
                <c:pt idx="8">
                  <c:v>140</c:v>
                </c:pt>
                <c:pt idx="9">
                  <c:v>148</c:v>
                </c:pt>
                <c:pt idx="10">
                  <c:v>134</c:v>
                </c:pt>
                <c:pt idx="11">
                  <c:v>123</c:v>
                </c:pt>
                <c:pt idx="12">
                  <c:v>107</c:v>
                </c:pt>
                <c:pt idx="13">
                  <c:v>103</c:v>
                </c:pt>
                <c:pt idx="14">
                  <c:v>88</c:v>
                </c:pt>
                <c:pt idx="15">
                  <c:v>86</c:v>
                </c:pt>
                <c:pt idx="16">
                  <c:v>87</c:v>
                </c:pt>
                <c:pt idx="17">
                  <c:v>84</c:v>
                </c:pt>
                <c:pt idx="18">
                  <c:v>77</c:v>
                </c:pt>
                <c:pt idx="19">
                  <c:v>72</c:v>
                </c:pt>
                <c:pt idx="20">
                  <c:v>64</c:v>
                </c:pt>
                <c:pt idx="21">
                  <c:v>57</c:v>
                </c:pt>
                <c:pt idx="22">
                  <c:v>53</c:v>
                </c:pt>
                <c:pt idx="23">
                  <c:v>53</c:v>
                </c:pt>
                <c:pt idx="24">
                  <c:v>43</c:v>
                </c:pt>
                <c:pt idx="25">
                  <c:v>35</c:v>
                </c:pt>
                <c:pt idx="26">
                  <c:v>29</c:v>
                </c:pt>
                <c:pt idx="27">
                  <c:v>20</c:v>
                </c:pt>
                <c:pt idx="28">
                  <c:v>19</c:v>
                </c:pt>
                <c:pt idx="29">
                  <c:v>22</c:v>
                </c:pt>
                <c:pt idx="30">
                  <c:v>24</c:v>
                </c:pt>
                <c:pt idx="31">
                  <c:v>24</c:v>
                </c:pt>
                <c:pt idx="32">
                  <c:v>25</c:v>
                </c:pt>
                <c:pt idx="33">
                  <c:v>22</c:v>
                </c:pt>
                <c:pt idx="34">
                  <c:v>22</c:v>
                </c:pt>
                <c:pt idx="35">
                  <c:v>21</c:v>
                </c:pt>
                <c:pt idx="36">
                  <c:v>22</c:v>
                </c:pt>
                <c:pt idx="37">
                  <c:v>23</c:v>
                </c:pt>
                <c:pt idx="38">
                  <c:v>27</c:v>
                </c:pt>
                <c:pt idx="39">
                  <c:v>22</c:v>
                </c:pt>
                <c:pt idx="40">
                  <c:v>21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4.351517647342988</c:v>
                </c:pt>
                <c:pt idx="32">
                  <c:v>22.544122182988929</c:v>
                </c:pt>
                <c:pt idx="33">
                  <c:v>20.860512016576884</c:v>
                </c:pt>
                <c:pt idx="34">
                  <c:v>19.278853681991123</c:v>
                </c:pt>
                <c:pt idx="35">
                  <c:v>17.815387998471415</c:v>
                </c:pt>
                <c:pt idx="36">
                  <c:v>16.505676679196579</c:v>
                </c:pt>
                <c:pt idx="37">
                  <c:v>15.291323479953924</c:v>
                </c:pt>
                <c:pt idx="38">
                  <c:v>14.121402201456434</c:v>
                </c:pt>
                <c:pt idx="39">
                  <c:v>13.017568601163067</c:v>
                </c:pt>
                <c:pt idx="40">
                  <c:v>11.985472723780944</c:v>
                </c:pt>
                <c:pt idx="41">
                  <c:v>11.02463499508057</c:v>
                </c:pt>
                <c:pt idx="42">
                  <c:v>10.155802980081756</c:v>
                </c:pt>
                <c:pt idx="43">
                  <c:v>9.3706799903124125</c:v>
                </c:pt>
                <c:pt idx="44">
                  <c:v>8.631989033035941</c:v>
                </c:pt>
                <c:pt idx="45">
                  <c:v>7.9204309464960421</c:v>
                </c:pt>
                <c:pt idx="46">
                  <c:v>7.2555594727753494</c:v>
                </c:pt>
                <c:pt idx="47">
                  <c:v>6.6384016954097316</c:v>
                </c:pt>
                <c:pt idx="48">
                  <c:v>6.066073683445464</c:v>
                </c:pt>
                <c:pt idx="49">
                  <c:v>5.534754144657752</c:v>
                </c:pt>
                <c:pt idx="50">
                  <c:v>5.0464222454345879</c:v>
                </c:pt>
                <c:pt idx="51">
                  <c:v>4.5844474917968014</c:v>
                </c:pt>
                <c:pt idx="52">
                  <c:v>4.1507649062094512</c:v>
                </c:pt>
                <c:pt idx="53">
                  <c:v>3.7464547406405737</c:v>
                </c:pt>
                <c:pt idx="54">
                  <c:v>3.3676891195708727</c:v>
                </c:pt>
                <c:pt idx="55">
                  <c:v>3.0123040283523048</c:v>
                </c:pt>
                <c:pt idx="56">
                  <c:v>2.6799171027704349</c:v>
                </c:pt>
                <c:pt idx="57">
                  <c:v>2.3719014162417618</c:v>
                </c:pt>
                <c:pt idx="58">
                  <c:v>2.0787596175558951</c:v>
                </c:pt>
                <c:pt idx="59">
                  <c:v>1.8090454133546898</c:v>
                </c:pt>
                <c:pt idx="60">
                  <c:v>1.555198675583819</c:v>
                </c:pt>
                <c:pt idx="61">
                  <c:v>1.3146520204391674</c:v>
                </c:pt>
                <c:pt idx="62">
                  <c:v>1.0879471804389595</c:v>
                </c:pt>
                <c:pt idx="63">
                  <c:v>0.87960396420753661</c:v>
                </c:pt>
                <c:pt idx="64">
                  <c:v>0.68401012795449945</c:v>
                </c:pt>
                <c:pt idx="65">
                  <c:v>0.49859203821829245</c:v>
                </c:pt>
                <c:pt idx="66">
                  <c:v>0.32597707288749533</c:v>
                </c:pt>
                <c:pt idx="67">
                  <c:v>0.16622348920785956</c:v>
                </c:pt>
                <c:pt idx="68">
                  <c:v>1.511334189943225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61-405A-B302-C808813240E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61-405A-B302-C808813240E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4.407110065875806</c:v>
                </c:pt>
                <c:pt idx="32">
                  <c:v>22.693429159639614</c:v>
                </c:pt>
                <c:pt idx="33">
                  <c:v>21.125418459411147</c:v>
                </c:pt>
                <c:pt idx="34">
                  <c:v>19.671337361279434</c:v>
                </c:pt>
                <c:pt idx="35">
                  <c:v>18.350510414488074</c:v>
                </c:pt>
                <c:pt idx="36">
                  <c:v>17.205030409879406</c:v>
                </c:pt>
                <c:pt idx="37">
                  <c:v>16.180592115637712</c:v>
                </c:pt>
                <c:pt idx="38">
                  <c:v>15.222847286926758</c:v>
                </c:pt>
                <c:pt idx="39">
                  <c:v>14.343159193397863</c:v>
                </c:pt>
                <c:pt idx="40">
                  <c:v>13.542424110343756</c:v>
                </c:pt>
                <c:pt idx="41">
                  <c:v>12.816395139324742</c:v>
                </c:pt>
                <c:pt idx="42">
                  <c:v>12.188504791265039</c:v>
                </c:pt>
                <c:pt idx="43">
                  <c:v>11.649699026373185</c:v>
                </c:pt>
                <c:pt idx="44">
                  <c:v>11.158404841059962</c:v>
                </c:pt>
                <c:pt idx="45">
                  <c:v>10.691452265063457</c:v>
                </c:pt>
                <c:pt idx="46">
                  <c:v>10.262963556693784</c:v>
                </c:pt>
                <c:pt idx="47">
                  <c:v>9.8738190572602189</c:v>
                </c:pt>
                <c:pt idx="48">
                  <c:v>9.5228465384962888</c:v>
                </c:pt>
                <c:pt idx="49">
                  <c:v>9.2034521639830338</c:v>
                </c:pt>
                <c:pt idx="50">
                  <c:v>8.9168252028035333</c:v>
                </c:pt>
                <c:pt idx="51">
                  <c:v>8.6474613668353975</c:v>
                </c:pt>
                <c:pt idx="52">
                  <c:v>8.3941860861736242</c:v>
                </c:pt>
                <c:pt idx="53">
                  <c:v>8.1576402832011929</c:v>
                </c:pt>
                <c:pt idx="54">
                  <c:v>7.9361153551498997</c:v>
                </c:pt>
                <c:pt idx="55">
                  <c:v>7.7268884645724496</c:v>
                </c:pt>
                <c:pt idx="56">
                  <c:v>7.5299802248369447</c:v>
                </c:pt>
                <c:pt idx="57">
                  <c:v>7.3456871982771643</c:v>
                </c:pt>
                <c:pt idx="58">
                  <c:v>7.1662871061925077</c:v>
                </c:pt>
                <c:pt idx="59">
                  <c:v>6.9981213567927893</c:v>
                </c:pt>
                <c:pt idx="60">
                  <c:v>6.8369558240477986</c:v>
                </c:pt>
                <c:pt idx="61">
                  <c:v>6.6799372246466042</c:v>
                </c:pt>
                <c:pt idx="62">
                  <c:v>6.5280698029631354</c:v>
                </c:pt>
                <c:pt idx="63">
                  <c:v>6.3848912524208439</c:v>
                </c:pt>
                <c:pt idx="64">
                  <c:v>6.246699755026734</c:v>
                </c:pt>
                <c:pt idx="65">
                  <c:v>6.1117997874127514</c:v>
                </c:pt>
                <c:pt idx="66">
                  <c:v>5.9819021564708361</c:v>
                </c:pt>
                <c:pt idx="67">
                  <c:v>5.8558756894984478</c:v>
                </c:pt>
                <c:pt idx="68">
                  <c:v>5.7343373493684826</c:v>
                </c:pt>
                <c:pt idx="69">
                  <c:v>5.6159349791918478</c:v>
                </c:pt>
                <c:pt idx="70">
                  <c:v>5.5018395753721414</c:v>
                </c:pt>
                <c:pt idx="71">
                  <c:v>5.3905067316072381</c:v>
                </c:pt>
                <c:pt idx="72">
                  <c:v>5.2808684690193006</c:v>
                </c:pt>
                <c:pt idx="73">
                  <c:v>5.1743769068017329</c:v>
                </c:pt>
                <c:pt idx="74">
                  <c:v>5.0715875481232748</c:v>
                </c:pt>
                <c:pt idx="75">
                  <c:v>4.9711912666742037</c:v>
                </c:pt>
                <c:pt idx="76">
                  <c:v>4.8711732056614316</c:v>
                </c:pt>
                <c:pt idx="77">
                  <c:v>4.7765372943230062</c:v>
                </c:pt>
                <c:pt idx="78">
                  <c:v>4.68274053730836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61-405A-B302-C808813240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4.462702484408631</c:v>
                </c:pt>
                <c:pt idx="32">
                  <c:v>22.844280370138431</c:v>
                </c:pt>
                <c:pt idx="33">
                  <c:v>21.392155967491281</c:v>
                </c:pt>
                <c:pt idx="34">
                  <c:v>20.064186311917521</c:v>
                </c:pt>
                <c:pt idx="35">
                  <c:v>18.891938412326013</c:v>
                </c:pt>
                <c:pt idx="36">
                  <c:v>17.9256982365889</c:v>
                </c:pt>
                <c:pt idx="37">
                  <c:v>17.11721353367367</c:v>
                </c:pt>
                <c:pt idx="38">
                  <c:v>16.412352132861542</c:v>
                </c:pt>
                <c:pt idx="39">
                  <c:v>15.806851528638539</c:v>
                </c:pt>
                <c:pt idx="40">
                  <c:v>15.296056406224892</c:v>
                </c:pt>
                <c:pt idx="41">
                  <c:v>14.879677038490932</c:v>
                </c:pt>
                <c:pt idx="42">
                  <c:v>14.586704983987499</c:v>
                </c:pt>
                <c:pt idx="43">
                  <c:v>14.409167624313602</c:v>
                </c:pt>
                <c:pt idx="44">
                  <c:v>14.29822089768672</c:v>
                </c:pt>
                <c:pt idx="45">
                  <c:v>14.227420008765332</c:v>
                </c:pt>
                <c:pt idx="46">
                  <c:v>14.205034922288917</c:v>
                </c:pt>
                <c:pt idx="47">
                  <c:v>14.235915506842991</c:v>
                </c:pt>
                <c:pt idx="48">
                  <c:v>14.319273470658073</c:v>
                </c:pt>
                <c:pt idx="49">
                  <c:v>14.447830935213833</c:v>
                </c:pt>
                <c:pt idx="50">
                  <c:v>14.621415663301672</c:v>
                </c:pt>
                <c:pt idx="51">
                  <c:v>14.81843708303723</c:v>
                </c:pt>
                <c:pt idx="52">
                  <c:v>15.037045378582899</c:v>
                </c:pt>
                <c:pt idx="53">
                  <c:v>15.28155931671709</c:v>
                </c:pt>
                <c:pt idx="54">
                  <c:v>15.550718388770836</c:v>
                </c:pt>
                <c:pt idx="55">
                  <c:v>15.840035326190179</c:v>
                </c:pt>
                <c:pt idx="56">
                  <c:v>16.147096647890113</c:v>
                </c:pt>
                <c:pt idx="57">
                  <c:v>16.474048345356582</c:v>
                </c:pt>
                <c:pt idx="58">
                  <c:v>16.811464739761831</c:v>
                </c:pt>
                <c:pt idx="59">
                  <c:v>17.165191359710757</c:v>
                </c:pt>
                <c:pt idx="60">
                  <c:v>17.53377287052259</c:v>
                </c:pt>
                <c:pt idx="61">
                  <c:v>17.91152078712701</c:v>
                </c:pt>
                <c:pt idx="62">
                  <c:v>18.301637308629367</c:v>
                </c:pt>
                <c:pt idx="63">
                  <c:v>18.706125604785758</c:v>
                </c:pt>
                <c:pt idx="64">
                  <c:v>19.122251756831961</c:v>
                </c:pt>
                <c:pt idx="65">
                  <c:v>19.546761674475253</c:v>
                </c:pt>
                <c:pt idx="66">
                  <c:v>19.984039036159455</c:v>
                </c:pt>
                <c:pt idx="67">
                  <c:v>20.431601964422111</c:v>
                </c:pt>
                <c:pt idx="68">
                  <c:v>20.889472859268952</c:v>
                </c:pt>
                <c:pt idx="69">
                  <c:v>21.355916883915263</c:v>
                </c:pt>
                <c:pt idx="70">
                  <c:v>21.833347316153606</c:v>
                </c:pt>
                <c:pt idx="71">
                  <c:v>22.321736755362132</c:v>
                </c:pt>
                <c:pt idx="72">
                  <c:v>22.816945781135523</c:v>
                </c:pt>
                <c:pt idx="73">
                  <c:v>23.324264240399927</c:v>
                </c:pt>
                <c:pt idx="74">
                  <c:v>23.843079138070955</c:v>
                </c:pt>
                <c:pt idx="75">
                  <c:v>24.370070486778491</c:v>
                </c:pt>
                <c:pt idx="76">
                  <c:v>24.905700865658311</c:v>
                </c:pt>
                <c:pt idx="77">
                  <c:v>25.453648048044279</c:v>
                </c:pt>
                <c:pt idx="78">
                  <c:v>26.01187870005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61-405A-B302-C808813240E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61-405A-B302-C80881324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2</c:v>
                </c:pt>
                <c:pt idx="1">
                  <c:v>105</c:v>
                </c:pt>
                <c:pt idx="2">
                  <c:v>112</c:v>
                </c:pt>
                <c:pt idx="3">
                  <c:v>117</c:v>
                </c:pt>
                <c:pt idx="4">
                  <c:v>105</c:v>
                </c:pt>
                <c:pt idx="5">
                  <c:v>100</c:v>
                </c:pt>
                <c:pt idx="6">
                  <c:v>95</c:v>
                </c:pt>
                <c:pt idx="7">
                  <c:v>77</c:v>
                </c:pt>
                <c:pt idx="8">
                  <c:v>72</c:v>
                </c:pt>
                <c:pt idx="9">
                  <c:v>78</c:v>
                </c:pt>
                <c:pt idx="10">
                  <c:v>67</c:v>
                </c:pt>
                <c:pt idx="11">
                  <c:v>56</c:v>
                </c:pt>
                <c:pt idx="12">
                  <c:v>48</c:v>
                </c:pt>
                <c:pt idx="13">
                  <c:v>45</c:v>
                </c:pt>
                <c:pt idx="14">
                  <c:v>42</c:v>
                </c:pt>
                <c:pt idx="15">
                  <c:v>43</c:v>
                </c:pt>
                <c:pt idx="16">
                  <c:v>46</c:v>
                </c:pt>
                <c:pt idx="17">
                  <c:v>37</c:v>
                </c:pt>
                <c:pt idx="18">
                  <c:v>37</c:v>
                </c:pt>
                <c:pt idx="19">
                  <c:v>36</c:v>
                </c:pt>
                <c:pt idx="20">
                  <c:v>31</c:v>
                </c:pt>
                <c:pt idx="21">
                  <c:v>28</c:v>
                </c:pt>
                <c:pt idx="22">
                  <c:v>27</c:v>
                </c:pt>
                <c:pt idx="23">
                  <c:v>30</c:v>
                </c:pt>
                <c:pt idx="24">
                  <c:v>25</c:v>
                </c:pt>
                <c:pt idx="25">
                  <c:v>24</c:v>
                </c:pt>
                <c:pt idx="26">
                  <c:v>25</c:v>
                </c:pt>
                <c:pt idx="27">
                  <c:v>21</c:v>
                </c:pt>
                <c:pt idx="28">
                  <c:v>20</c:v>
                </c:pt>
                <c:pt idx="29">
                  <c:v>19</c:v>
                </c:pt>
                <c:pt idx="30">
                  <c:v>19</c:v>
                </c:pt>
                <c:pt idx="31">
                  <c:v>19</c:v>
                </c:pt>
                <c:pt idx="32">
                  <c:v>17</c:v>
                </c:pt>
                <c:pt idx="33">
                  <c:v>15</c:v>
                </c:pt>
                <c:pt idx="34">
                  <c:v>13</c:v>
                </c:pt>
                <c:pt idx="35">
                  <c:v>13</c:v>
                </c:pt>
                <c:pt idx="36">
                  <c:v>13</c:v>
                </c:pt>
                <c:pt idx="37">
                  <c:v>11</c:v>
                </c:pt>
                <c:pt idx="38">
                  <c:v>11</c:v>
                </c:pt>
                <c:pt idx="39">
                  <c:v>9</c:v>
                </c:pt>
                <c:pt idx="40">
                  <c:v>7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1.15823631933236</c:v>
                </c:pt>
                <c:pt idx="32">
                  <c:v>19.614924647754531</c:v>
                </c:pt>
                <c:pt idx="33">
                  <c:v>18.172205047528671</c:v>
                </c:pt>
                <c:pt idx="34">
                  <c:v>16.820547067246732</c:v>
                </c:pt>
                <c:pt idx="35">
                  <c:v>15.57325960550412</c:v>
                </c:pt>
                <c:pt idx="36">
                  <c:v>14.457542093098219</c:v>
                </c:pt>
                <c:pt idx="37">
                  <c:v>13.426484697709387</c:v>
                </c:pt>
                <c:pt idx="38">
                  <c:v>12.437804502827197</c:v>
                </c:pt>
                <c:pt idx="39">
                  <c:v>11.501896701412957</c:v>
                </c:pt>
                <c:pt idx="40">
                  <c:v>10.624066596526822</c:v>
                </c:pt>
                <c:pt idx="41">
                  <c:v>9.810863945321163</c:v>
                </c:pt>
                <c:pt idx="42">
                  <c:v>9.0777992273523154</c:v>
                </c:pt>
                <c:pt idx="43">
                  <c:v>8.416503416459383</c:v>
                </c:pt>
                <c:pt idx="44">
                  <c:v>7.7998374437152087</c:v>
                </c:pt>
                <c:pt idx="45">
                  <c:v>7.2075621583552207</c:v>
                </c:pt>
                <c:pt idx="46">
                  <c:v>6.6541600211240501</c:v>
                </c:pt>
                <c:pt idx="47">
                  <c:v>6.1402150772181754</c:v>
                </c:pt>
                <c:pt idx="48">
                  <c:v>5.6664583680848279</c:v>
                </c:pt>
                <c:pt idx="49">
                  <c:v>5.2282633848501714</c:v>
                </c:pt>
                <c:pt idx="50">
                  <c:v>4.8255039153237247</c:v>
                </c:pt>
                <c:pt idx="51">
                  <c:v>4.4470991998421816</c:v>
                </c:pt>
                <c:pt idx="52">
                  <c:v>4.0933496277532377</c:v>
                </c:pt>
                <c:pt idx="53">
                  <c:v>3.7632479269888126</c:v>
                </c:pt>
                <c:pt idx="54">
                  <c:v>3.4542146421198177</c:v>
                </c:pt>
                <c:pt idx="55">
                  <c:v>3.1652874756937419</c:v>
                </c:pt>
                <c:pt idx="56">
                  <c:v>2.8949528090989363</c:v>
                </c:pt>
                <c:pt idx="57">
                  <c:v>2.6443292953124362</c:v>
                </c:pt>
                <c:pt idx="58">
                  <c:v>2.4077049645042212</c:v>
                </c:pt>
                <c:pt idx="59">
                  <c:v>2.1900387736386153</c:v>
                </c:pt>
                <c:pt idx="60">
                  <c:v>1.9849878803963406</c:v>
                </c:pt>
                <c:pt idx="61">
                  <c:v>1.7901920276253933</c:v>
                </c:pt>
                <c:pt idx="62">
                  <c:v>1.6076408281059691</c:v>
                </c:pt>
                <c:pt idx="63">
                  <c:v>1.4397129866731011</c:v>
                </c:pt>
                <c:pt idx="64">
                  <c:v>1.2815508789387109</c:v>
                </c:pt>
                <c:pt idx="65">
                  <c:v>1.1326073137281438</c:v>
                </c:pt>
                <c:pt idx="66">
                  <c:v>0.9941757966833662</c:v>
                </c:pt>
                <c:pt idx="67">
                  <c:v>0.86618277391591247</c:v>
                </c:pt>
                <c:pt idx="68">
                  <c:v>0.74490913325957153</c:v>
                </c:pt>
                <c:pt idx="69">
                  <c:v>0.63234192325542193</c:v>
                </c:pt>
                <c:pt idx="70">
                  <c:v>0.52664838153410209</c:v>
                </c:pt>
                <c:pt idx="71">
                  <c:v>0.4271404507599198</c:v>
                </c:pt>
                <c:pt idx="72">
                  <c:v>0.33355141409522326</c:v>
                </c:pt>
                <c:pt idx="73">
                  <c:v>0.24609824717936479</c:v>
                </c:pt>
                <c:pt idx="74">
                  <c:v>0.16602380474811684</c:v>
                </c:pt>
                <c:pt idx="75">
                  <c:v>8.9844321619961476E-2</c:v>
                </c:pt>
                <c:pt idx="76">
                  <c:v>1.807316506335943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C6B-4BF4-B2CE-E178882944A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C6B-4BF4-B2CE-E178882944A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1.204844053159722</c:v>
                </c:pt>
                <c:pt idx="32">
                  <c:v>19.740016119030674</c:v>
                </c:pt>
                <c:pt idx="33">
                  <c:v>18.393717788533145</c:v>
                </c:pt>
                <c:pt idx="34">
                  <c:v>17.147961917505707</c:v>
                </c:pt>
                <c:pt idx="35">
                  <c:v>16.018461322924189</c:v>
                </c:pt>
                <c:pt idx="36">
                  <c:v>15.037702768576494</c:v>
                </c:pt>
                <c:pt idx="37">
                  <c:v>14.16214085354604</c:v>
                </c:pt>
                <c:pt idx="38">
                  <c:v>13.34656846179908</c:v>
                </c:pt>
                <c:pt idx="39">
                  <c:v>12.592870262806978</c:v>
                </c:pt>
                <c:pt idx="40">
                  <c:v>11.902508439970132</c:v>
                </c:pt>
                <c:pt idx="41">
                  <c:v>11.279097813457788</c:v>
                </c:pt>
                <c:pt idx="42">
                  <c:v>10.740560020750546</c:v>
                </c:pt>
                <c:pt idx="43">
                  <c:v>10.278040294356263</c:v>
                </c:pt>
                <c:pt idx="44">
                  <c:v>9.860900408981216</c:v>
                </c:pt>
                <c:pt idx="45">
                  <c:v>9.465741612660155</c:v>
                </c:pt>
                <c:pt idx="46">
                  <c:v>9.1025871510537488</c:v>
                </c:pt>
                <c:pt idx="47">
                  <c:v>8.7719913280064592</c:v>
                </c:pt>
                <c:pt idx="48">
                  <c:v>8.4762147619058918</c:v>
                </c:pt>
                <c:pt idx="49">
                  <c:v>8.2083698328384145</c:v>
                </c:pt>
                <c:pt idx="50">
                  <c:v>7.9677186965875793</c:v>
                </c:pt>
                <c:pt idx="51">
                  <c:v>7.7441334735347356</c:v>
                </c:pt>
                <c:pt idx="52">
                  <c:v>7.5353297794914784</c:v>
                </c:pt>
                <c:pt idx="53">
                  <c:v>7.3399257368047417</c:v>
                </c:pt>
                <c:pt idx="54">
                  <c:v>7.1571434756444043</c:v>
                </c:pt>
                <c:pt idx="55">
                  <c:v>6.9855588232143653</c:v>
                </c:pt>
                <c:pt idx="56">
                  <c:v>6.8239867831753971</c:v>
                </c:pt>
                <c:pt idx="57">
                  <c:v>6.672627167466108</c:v>
                </c:pt>
                <c:pt idx="58">
                  <c:v>6.527247695996242</c:v>
                </c:pt>
                <c:pt idx="59">
                  <c:v>6.3909427010735289</c:v>
                </c:pt>
                <c:pt idx="60">
                  <c:v>6.2601472189028389</c:v>
                </c:pt>
                <c:pt idx="61">
                  <c:v>6.1322583512616182</c:v>
                </c:pt>
                <c:pt idx="62">
                  <c:v>6.0096281882388256</c:v>
                </c:pt>
                <c:pt idx="63">
                  <c:v>5.8937986120872843</c:v>
                </c:pt>
                <c:pt idx="64">
                  <c:v>5.7815138835097262</c:v>
                </c:pt>
                <c:pt idx="65">
                  <c:v>5.6729437954388082</c:v>
                </c:pt>
                <c:pt idx="66">
                  <c:v>5.5685925444529456</c:v>
                </c:pt>
                <c:pt idx="67">
                  <c:v>5.4673675614124964</c:v>
                </c:pt>
                <c:pt idx="68">
                  <c:v>5.3695912966693387</c:v>
                </c:pt>
                <c:pt idx="69">
                  <c:v>5.274421285736544</c:v>
                </c:pt>
                <c:pt idx="70">
                  <c:v>5.182450657841164</c:v>
                </c:pt>
                <c:pt idx="71">
                  <c:v>5.0924939180527549</c:v>
                </c:pt>
                <c:pt idx="72">
                  <c:v>5.0044582204952324</c:v>
                </c:pt>
                <c:pt idx="73">
                  <c:v>4.9188738401991596</c:v>
                </c:pt>
                <c:pt idx="74">
                  <c:v>4.8360698800702364</c:v>
                </c:pt>
                <c:pt idx="75">
                  <c:v>4.7552065486690811</c:v>
                </c:pt>
                <c:pt idx="76">
                  <c:v>4.6748709985592747</c:v>
                </c:pt>
                <c:pt idx="77">
                  <c:v>4.5983900533998456</c:v>
                </c:pt>
                <c:pt idx="78">
                  <c:v>4.5226761715511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C6B-4BF4-B2CE-E178882944A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1.25145178698709</c:v>
                </c:pt>
                <c:pt idx="32">
                  <c:v>19.866402249579799</c:v>
                </c:pt>
                <c:pt idx="33">
                  <c:v>18.616763303719154</c:v>
                </c:pt>
                <c:pt idx="34">
                  <c:v>17.475670425186252</c:v>
                </c:pt>
                <c:pt idx="35">
                  <c:v>16.468929425588737</c:v>
                </c:pt>
                <c:pt idx="36">
                  <c:v>15.635700627078172</c:v>
                </c:pt>
                <c:pt idx="37">
                  <c:v>14.937396995760055</c:v>
                </c:pt>
                <c:pt idx="38">
                  <c:v>14.328893414828006</c:v>
                </c:pt>
                <c:pt idx="39">
                  <c:v>13.799014945600153</c:v>
                </c:pt>
                <c:pt idx="40">
                  <c:v>13.344616606938576</c:v>
                </c:pt>
                <c:pt idx="41">
                  <c:v>12.972794294049166</c:v>
                </c:pt>
                <c:pt idx="42">
                  <c:v>12.706213994004425</c:v>
                </c:pt>
                <c:pt idx="43">
                  <c:v>12.53699749927317</c:v>
                </c:pt>
                <c:pt idx="44">
                  <c:v>12.428464003343203</c:v>
                </c:pt>
                <c:pt idx="45">
                  <c:v>12.354516313364954</c:v>
                </c:pt>
                <c:pt idx="46">
                  <c:v>12.320348777621106</c:v>
                </c:pt>
                <c:pt idx="47">
                  <c:v>12.329915681082063</c:v>
                </c:pt>
                <c:pt idx="48">
                  <c:v>12.385875182496619</c:v>
                </c:pt>
                <c:pt idx="49">
                  <c:v>12.480805103362147</c:v>
                </c:pt>
                <c:pt idx="50">
                  <c:v>12.612867494621208</c:v>
                </c:pt>
                <c:pt idx="51">
                  <c:v>12.766834294698237</c:v>
                </c:pt>
                <c:pt idx="52">
                  <c:v>12.939880134904278</c:v>
                </c:pt>
                <c:pt idx="53">
                  <c:v>13.133747664154308</c:v>
                </c:pt>
                <c:pt idx="54">
                  <c:v>13.348068189458902</c:v>
                </c:pt>
                <c:pt idx="55">
                  <c:v>13.579957634309084</c:v>
                </c:pt>
                <c:pt idx="56">
                  <c:v>13.826207894646677</c:v>
                </c:pt>
                <c:pt idx="57">
                  <c:v>14.088570195308755</c:v>
                </c:pt>
                <c:pt idx="58">
                  <c:v>14.361397215015375</c:v>
                </c:pt>
                <c:pt idx="59">
                  <c:v>14.647365364280102</c:v>
                </c:pt>
                <c:pt idx="60">
                  <c:v>14.945251691022818</c:v>
                </c:pt>
                <c:pt idx="61">
                  <c:v>15.250077230334577</c:v>
                </c:pt>
                <c:pt idx="62">
                  <c:v>15.566024749478098</c:v>
                </c:pt>
                <c:pt idx="63">
                  <c:v>15.893359439919829</c:v>
                </c:pt>
                <c:pt idx="64">
                  <c:v>16.22963741360196</c:v>
                </c:pt>
                <c:pt idx="65">
                  <c:v>16.573724770289672</c:v>
                </c:pt>
                <c:pt idx="66">
                  <c:v>16.928359311499889</c:v>
                </c:pt>
                <c:pt idx="67">
                  <c:v>17.291307730229143</c:v>
                </c:pt>
                <c:pt idx="68">
                  <c:v>17.662379906758574</c:v>
                </c:pt>
                <c:pt idx="69">
                  <c:v>18.040411993436148</c:v>
                </c:pt>
                <c:pt idx="70">
                  <c:v>18.427053622293837</c:v>
                </c:pt>
                <c:pt idx="71">
                  <c:v>18.822387792320086</c:v>
                </c:pt>
                <c:pt idx="72">
                  <c:v>19.223737717863322</c:v>
                </c:pt>
                <c:pt idx="73">
                  <c:v>19.634843169349381</c:v>
                </c:pt>
                <c:pt idx="74">
                  <c:v>20.055068892903314</c:v>
                </c:pt>
                <c:pt idx="75">
                  <c:v>20.481865090313587</c:v>
                </c:pt>
                <c:pt idx="76">
                  <c:v>20.915892428463945</c:v>
                </c:pt>
                <c:pt idx="77">
                  <c:v>21.359363298108327</c:v>
                </c:pt>
                <c:pt idx="78">
                  <c:v>21.811277584631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C6B-4BF4-B2CE-E178882944A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C6B-4BF4-B2CE-E17888294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0</c:v>
                </c:pt>
                <c:pt idx="1">
                  <c:v>20</c:v>
                </c:pt>
                <c:pt idx="2">
                  <c:v>22</c:v>
                </c:pt>
                <c:pt idx="3">
                  <c:v>21</c:v>
                </c:pt>
                <c:pt idx="4">
                  <c:v>17</c:v>
                </c:pt>
                <c:pt idx="5">
                  <c:v>15</c:v>
                </c:pt>
                <c:pt idx="6">
                  <c:v>15</c:v>
                </c:pt>
                <c:pt idx="7">
                  <c:v>16</c:v>
                </c:pt>
                <c:pt idx="8">
                  <c:v>15</c:v>
                </c:pt>
                <c:pt idx="9">
                  <c:v>20</c:v>
                </c:pt>
                <c:pt idx="10">
                  <c:v>20</c:v>
                </c:pt>
                <c:pt idx="11">
                  <c:v>19</c:v>
                </c:pt>
                <c:pt idx="12">
                  <c:v>23</c:v>
                </c:pt>
                <c:pt idx="13">
                  <c:v>19</c:v>
                </c:pt>
                <c:pt idx="14">
                  <c:v>19</c:v>
                </c:pt>
                <c:pt idx="15">
                  <c:v>19</c:v>
                </c:pt>
                <c:pt idx="16">
                  <c:v>21</c:v>
                </c:pt>
                <c:pt idx="17">
                  <c:v>20</c:v>
                </c:pt>
                <c:pt idx="18">
                  <c:v>20</c:v>
                </c:pt>
                <c:pt idx="19">
                  <c:v>21</c:v>
                </c:pt>
                <c:pt idx="20">
                  <c:v>17</c:v>
                </c:pt>
                <c:pt idx="21">
                  <c:v>16</c:v>
                </c:pt>
                <c:pt idx="22">
                  <c:v>16</c:v>
                </c:pt>
                <c:pt idx="23">
                  <c:v>16</c:v>
                </c:pt>
                <c:pt idx="24">
                  <c:v>15</c:v>
                </c:pt>
                <c:pt idx="25">
                  <c:v>13</c:v>
                </c:pt>
                <c:pt idx="26">
                  <c:v>11</c:v>
                </c:pt>
                <c:pt idx="27">
                  <c:v>11</c:v>
                </c:pt>
                <c:pt idx="28">
                  <c:v>11</c:v>
                </c:pt>
                <c:pt idx="29">
                  <c:v>11</c:v>
                </c:pt>
                <c:pt idx="30">
                  <c:v>11</c:v>
                </c:pt>
                <c:pt idx="31">
                  <c:v>10</c:v>
                </c:pt>
                <c:pt idx="32">
                  <c:v>8</c:v>
                </c:pt>
                <c:pt idx="33">
                  <c:v>6</c:v>
                </c:pt>
                <c:pt idx="34">
                  <c:v>5</c:v>
                </c:pt>
                <c:pt idx="35">
                  <c:v>5</c:v>
                </c:pt>
                <c:pt idx="36">
                  <c:v>5</c:v>
                </c:pt>
                <c:pt idx="37">
                  <c:v>5</c:v>
                </c:pt>
                <c:pt idx="38">
                  <c:v>5</c:v>
                </c:pt>
                <c:pt idx="39">
                  <c:v>2</c:v>
                </c:pt>
                <c:pt idx="40">
                  <c:v>2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.037857168957899</c:v>
                </c:pt>
                <c:pt idx="32">
                  <c:v>9.3148142163954653</c:v>
                </c:pt>
                <c:pt idx="33">
                  <c:v>8.6371460461552694</c:v>
                </c:pt>
                <c:pt idx="34">
                  <c:v>8.0035153680341438</c:v>
                </c:pt>
                <c:pt idx="35">
                  <c:v>7.4199655772071038</c:v>
                </c:pt>
                <c:pt idx="36">
                  <c:v>6.8981529031588824</c:v>
                </c:pt>
                <c:pt idx="37">
                  <c:v>6.4171139123637539</c:v>
                </c:pt>
                <c:pt idx="38">
                  <c:v>5.9574516777117541</c:v>
                </c:pt>
                <c:pt idx="39">
                  <c:v>5.521257501516545</c:v>
                </c:pt>
                <c:pt idx="40">
                  <c:v>5.1111819452733611</c:v>
                </c:pt>
                <c:pt idx="41">
                  <c:v>4.7326821471109746</c:v>
                </c:pt>
                <c:pt idx="42">
                  <c:v>4.3922677712016309</c:v>
                </c:pt>
                <c:pt idx="43">
                  <c:v>4.085577021172984</c:v>
                </c:pt>
                <c:pt idx="44">
                  <c:v>3.8015053664776559</c:v>
                </c:pt>
                <c:pt idx="45">
                  <c:v>3.5292802845408326</c:v>
                </c:pt>
                <c:pt idx="46">
                  <c:v>3.2749268501700857</c:v>
                </c:pt>
                <c:pt idx="47">
                  <c:v>3.0386181359611024</c:v>
                </c:pt>
                <c:pt idx="48">
                  <c:v>2.8217927467962074</c:v>
                </c:pt>
                <c:pt idx="49">
                  <c:v>2.6218151563197143</c:v>
                </c:pt>
                <c:pt idx="50">
                  <c:v>2.4380028753219101</c:v>
                </c:pt>
                <c:pt idx="51">
                  <c:v>2.266235343128606</c:v>
                </c:pt>
                <c:pt idx="52">
                  <c:v>2.1061892901574959</c:v>
                </c:pt>
                <c:pt idx="53">
                  <c:v>1.956730498096257</c:v>
                </c:pt>
                <c:pt idx="54">
                  <c:v>1.8168870101590811</c:v>
                </c:pt>
                <c:pt idx="55">
                  <c:v>1.6865119213390938</c:v>
                </c:pt>
                <c:pt idx="56">
                  <c:v>1.5644886532879079</c:v>
                </c:pt>
                <c:pt idx="57">
                  <c:v>1.451322831754694</c:v>
                </c:pt>
                <c:pt idx="58">
                  <c:v>1.3451613354914855</c:v>
                </c:pt>
                <c:pt idx="59">
                  <c:v>1.2475226045281054</c:v>
                </c:pt>
                <c:pt idx="60">
                  <c:v>1.1554736765005287</c:v>
                </c:pt>
                <c:pt idx="61">
                  <c:v>1.067851107020146</c:v>
                </c:pt>
                <c:pt idx="62">
                  <c:v>0.98611114328951965</c:v>
                </c:pt>
                <c:pt idx="63">
                  <c:v>0.91086000144824808</c:v>
                </c:pt>
                <c:pt idx="64">
                  <c:v>0.83979943261545031</c:v>
                </c:pt>
                <c:pt idx="65">
                  <c:v>0.77323953120380728</c:v>
                </c:pt>
                <c:pt idx="66">
                  <c:v>0.71146025232302257</c:v>
                </c:pt>
                <c:pt idx="67">
                  <c:v>0.65438481698095063</c:v>
                </c:pt>
                <c:pt idx="68">
                  <c:v>0.6002305017517191</c:v>
                </c:pt>
                <c:pt idx="69">
                  <c:v>0.55001960765359903</c:v>
                </c:pt>
                <c:pt idx="70">
                  <c:v>0.50277360725754383</c:v>
                </c:pt>
                <c:pt idx="71">
                  <c:v>0.4582138859812197</c:v>
                </c:pt>
                <c:pt idx="72">
                  <c:v>0.41650680637789694</c:v>
                </c:pt>
                <c:pt idx="73">
                  <c:v>0.37751668413079531</c:v>
                </c:pt>
                <c:pt idx="74">
                  <c:v>0.34177145429052802</c:v>
                </c:pt>
                <c:pt idx="75">
                  <c:v>0.30775791314026479</c:v>
                </c:pt>
                <c:pt idx="76">
                  <c:v>0.27581138204346473</c:v>
                </c:pt>
                <c:pt idx="77">
                  <c:v>0.24541657961993862</c:v>
                </c:pt>
                <c:pt idx="78">
                  <c:v>0.2173785140654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2F-44D5-BBBF-49ECF69EDAE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2F-44D5-BBBF-49ECF69EDAE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.059397107325907</c:v>
                </c:pt>
                <c:pt idx="32">
                  <c:v>9.3725960125337142</c:v>
                </c:pt>
                <c:pt idx="33">
                  <c:v>8.7393161342039232</c:v>
                </c:pt>
                <c:pt idx="34">
                  <c:v>8.1542592037104811</c:v>
                </c:pt>
                <c:pt idx="35">
                  <c:v>7.6245161743975531</c:v>
                </c:pt>
                <c:pt idx="36">
                  <c:v>7.1641210437111136</c:v>
                </c:pt>
                <c:pt idx="37">
                  <c:v>6.7536423996275641</c:v>
                </c:pt>
                <c:pt idx="38">
                  <c:v>6.372312583835285</c:v>
                </c:pt>
                <c:pt idx="39">
                  <c:v>6.0183311601991862</c:v>
                </c:pt>
                <c:pt idx="40">
                  <c:v>5.6926223425570717</c:v>
                </c:pt>
                <c:pt idx="41">
                  <c:v>5.399365013786193</c:v>
                </c:pt>
                <c:pt idx="42">
                  <c:v>5.1462391455137979</c:v>
                </c:pt>
                <c:pt idx="43">
                  <c:v>4.9287106130892306</c:v>
                </c:pt>
                <c:pt idx="44">
                  <c:v>4.7340935845995062</c:v>
                </c:pt>
                <c:pt idx="45">
                  <c:v>4.550185245559895</c:v>
                </c:pt>
                <c:pt idx="46">
                  <c:v>4.380982844009039</c:v>
                </c:pt>
                <c:pt idx="47">
                  <c:v>4.2266783169645041</c:v>
                </c:pt>
                <c:pt idx="48">
                  <c:v>4.0894502084175937</c:v>
                </c:pt>
                <c:pt idx="49">
                  <c:v>3.9656401537299377</c:v>
                </c:pt>
                <c:pt idx="50">
                  <c:v>3.8543006853959878</c:v>
                </c:pt>
                <c:pt idx="51">
                  <c:v>3.7517546569760811</c:v>
                </c:pt>
                <c:pt idx="52">
                  <c:v>3.6564920160017009</c:v>
                </c:pt>
                <c:pt idx="53">
                  <c:v>3.5672032237860929</c:v>
                </c:pt>
                <c:pt idx="54">
                  <c:v>3.48375761060348</c:v>
                </c:pt>
                <c:pt idx="55">
                  <c:v>3.4057971324236433</c:v>
                </c:pt>
                <c:pt idx="56">
                  <c:v>3.3323538593482427</c:v>
                </c:pt>
                <c:pt idx="57">
                  <c:v>3.2635030689454338</c:v>
                </c:pt>
                <c:pt idx="58">
                  <c:v>3.1980725125195715</c:v>
                </c:pt>
                <c:pt idx="59">
                  <c:v>3.1367154360919938</c:v>
                </c:pt>
                <c:pt idx="60">
                  <c:v>3.077778984139806</c:v>
                </c:pt>
                <c:pt idx="61">
                  <c:v>3.019986544333694</c:v>
                </c:pt>
                <c:pt idx="62">
                  <c:v>2.9649530453574173</c:v>
                </c:pt>
                <c:pt idx="63">
                  <c:v>2.9128932665620777</c:v>
                </c:pt>
                <c:pt idx="64">
                  <c:v>2.8622493520151573</c:v>
                </c:pt>
                <c:pt idx="65">
                  <c:v>2.8136560383524545</c:v>
                </c:pt>
                <c:pt idx="66">
                  <c:v>2.7670212024818976</c:v>
                </c:pt>
                <c:pt idx="67">
                  <c:v>2.7217894969773835</c:v>
                </c:pt>
                <c:pt idx="68">
                  <c:v>2.6780418471262668</c:v>
                </c:pt>
                <c:pt idx="69">
                  <c:v>2.6354906856393354</c:v>
                </c:pt>
                <c:pt idx="70">
                  <c:v>2.5942742818774578</c:v>
                </c:pt>
                <c:pt idx="71">
                  <c:v>2.5538829659589957</c:v>
                </c:pt>
                <c:pt idx="72">
                  <c:v>2.5145543683448257</c:v>
                </c:pt>
                <c:pt idx="73">
                  <c:v>2.476293348754405</c:v>
                </c:pt>
                <c:pt idx="74">
                  <c:v>2.4392042446745257</c:v>
                </c:pt>
                <c:pt idx="75">
                  <c:v>2.4029890474964946</c:v>
                </c:pt>
                <c:pt idx="76">
                  <c:v>2.3670914163542678</c:v>
                </c:pt>
                <c:pt idx="77">
                  <c:v>2.3327452945656013</c:v>
                </c:pt>
                <c:pt idx="78">
                  <c:v>2.29877588231434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B2F-44D5-BBBF-49ECF69EDA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.080937045693918</c:v>
                </c:pt>
                <c:pt idx="32">
                  <c:v>9.4309761402932981</c:v>
                </c:pt>
                <c:pt idx="33">
                  <c:v>8.842193774713305</c:v>
                </c:pt>
                <c:pt idx="34">
                  <c:v>8.3051343567384119</c:v>
                </c:pt>
                <c:pt idx="35">
                  <c:v>7.831493622487141</c:v>
                </c:pt>
                <c:pt idx="36">
                  <c:v>7.438321452109335</c:v>
                </c:pt>
                <c:pt idx="37">
                  <c:v>7.1084372895314214</c:v>
                </c:pt>
                <c:pt idx="38">
                  <c:v>6.8210767116416431</c:v>
                </c:pt>
                <c:pt idx="39">
                  <c:v>6.5684179891898946</c:v>
                </c:pt>
                <c:pt idx="40">
                  <c:v>6.3492726151755283</c:v>
                </c:pt>
                <c:pt idx="41">
                  <c:v>6.1694854014732936</c:v>
                </c:pt>
                <c:pt idx="42">
                  <c:v>6.0389582111937585</c:v>
                </c:pt>
                <c:pt idx="43">
                  <c:v>5.9536326805614461</c:v>
                </c:pt>
                <c:pt idx="44">
                  <c:v>5.8980490255942017</c:v>
                </c:pt>
                <c:pt idx="45">
                  <c:v>5.8587738077468989</c:v>
                </c:pt>
                <c:pt idx="46">
                  <c:v>5.8375996966166506</c:v>
                </c:pt>
                <c:pt idx="47">
                  <c:v>5.8363151112351863</c:v>
                </c:pt>
                <c:pt idx="48">
                  <c:v>5.8573087668603421</c:v>
                </c:pt>
                <c:pt idx="49">
                  <c:v>5.8966888595492346</c:v>
                </c:pt>
                <c:pt idx="50">
                  <c:v>5.9530139619842206</c:v>
                </c:pt>
                <c:pt idx="51">
                  <c:v>6.0202507175416544</c:v>
                </c:pt>
                <c:pt idx="52">
                  <c:v>6.0966478404708289</c:v>
                </c:pt>
                <c:pt idx="53">
                  <c:v>6.1823541656486656</c:v>
                </c:pt>
                <c:pt idx="54">
                  <c:v>6.2774398373632865</c:v>
                </c:pt>
                <c:pt idx="55">
                  <c:v>6.3808788810974635</c:v>
                </c:pt>
                <c:pt idx="56">
                  <c:v>6.4907745309976246</c:v>
                </c:pt>
                <c:pt idx="57">
                  <c:v>6.6079193646043786</c:v>
                </c:pt>
                <c:pt idx="58">
                  <c:v>6.7304917321515516</c:v>
                </c:pt>
                <c:pt idx="59">
                  <c:v>6.8589509718005894</c:v>
                </c:pt>
                <c:pt idx="60">
                  <c:v>6.992730904371582</c:v>
                </c:pt>
                <c:pt idx="61">
                  <c:v>7.129457130349814</c:v>
                </c:pt>
                <c:pt idx="62">
                  <c:v>7.2715864202267246</c:v>
                </c:pt>
                <c:pt idx="63">
                  <c:v>7.418746961374266</c:v>
                </c:pt>
                <c:pt idx="64">
                  <c:v>7.5697562311524376</c:v>
                </c:pt>
                <c:pt idx="65">
                  <c:v>7.7246475021917647</c:v>
                </c:pt>
                <c:pt idx="66">
                  <c:v>7.8843583736929661</c:v>
                </c:pt>
                <c:pt idx="67">
                  <c:v>8.0478033900267647</c:v>
                </c:pt>
                <c:pt idx="68">
                  <c:v>8.2148216618282284</c:v>
                </c:pt>
                <c:pt idx="69">
                  <c:v>8.3849769008069295</c:v>
                </c:pt>
                <c:pt idx="70">
                  <c:v>8.5589008849430535</c:v>
                </c:pt>
                <c:pt idx="71">
                  <c:v>8.7366690167948988</c:v>
                </c:pt>
                <c:pt idx="72">
                  <c:v>8.9173216397445412</c:v>
                </c:pt>
                <c:pt idx="73">
                  <c:v>9.1023441007578683</c:v>
                </c:pt>
                <c:pt idx="74">
                  <c:v>9.2914004019096055</c:v>
                </c:pt>
                <c:pt idx="75">
                  <c:v>9.4833938116427312</c:v>
                </c:pt>
                <c:pt idx="76">
                  <c:v>9.6787250390309101</c:v>
                </c:pt>
                <c:pt idx="77">
                  <c:v>9.8781120769239781</c:v>
                </c:pt>
                <c:pt idx="78">
                  <c:v>10.0813390242746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B2F-44D5-BBBF-49ECF69EDAE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B2F-44D5-BBBF-49ECF69ED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228</c:v>
                </c:pt>
                <c:pt idx="1">
                  <c:v>230</c:v>
                </c:pt>
                <c:pt idx="2">
                  <c:v>278</c:v>
                </c:pt>
                <c:pt idx="3">
                  <c:v>255</c:v>
                </c:pt>
                <c:pt idx="4">
                  <c:v>237</c:v>
                </c:pt>
                <c:pt idx="5">
                  <c:v>220</c:v>
                </c:pt>
                <c:pt idx="6">
                  <c:v>197</c:v>
                </c:pt>
                <c:pt idx="7">
                  <c:v>168</c:v>
                </c:pt>
                <c:pt idx="8">
                  <c:v>174</c:v>
                </c:pt>
                <c:pt idx="9">
                  <c:v>195</c:v>
                </c:pt>
                <c:pt idx="10">
                  <c:v>170</c:v>
                </c:pt>
                <c:pt idx="11">
                  <c:v>164</c:v>
                </c:pt>
                <c:pt idx="12">
                  <c:v>162</c:v>
                </c:pt>
                <c:pt idx="13">
                  <c:v>151</c:v>
                </c:pt>
                <c:pt idx="14">
                  <c:v>131</c:v>
                </c:pt>
                <c:pt idx="15">
                  <c:v>138</c:v>
                </c:pt>
                <c:pt idx="16">
                  <c:v>142</c:v>
                </c:pt>
                <c:pt idx="17">
                  <c:v>99</c:v>
                </c:pt>
                <c:pt idx="18">
                  <c:v>98</c:v>
                </c:pt>
                <c:pt idx="19">
                  <c:v>92</c:v>
                </c:pt>
                <c:pt idx="20">
                  <c:v>110</c:v>
                </c:pt>
                <c:pt idx="21">
                  <c:v>90</c:v>
                </c:pt>
                <c:pt idx="22">
                  <c:v>86</c:v>
                </c:pt>
                <c:pt idx="23">
                  <c:v>90</c:v>
                </c:pt>
                <c:pt idx="24">
                  <c:v>82</c:v>
                </c:pt>
                <c:pt idx="25">
                  <c:v>74</c:v>
                </c:pt>
                <c:pt idx="26">
                  <c:v>47</c:v>
                </c:pt>
                <c:pt idx="27">
                  <c:v>40</c:v>
                </c:pt>
                <c:pt idx="28">
                  <c:v>35</c:v>
                </c:pt>
                <c:pt idx="29">
                  <c:v>37</c:v>
                </c:pt>
                <c:pt idx="30">
                  <c:v>56</c:v>
                </c:pt>
                <c:pt idx="31">
                  <c:v>43</c:v>
                </c:pt>
                <c:pt idx="32">
                  <c:v>37</c:v>
                </c:pt>
                <c:pt idx="33">
                  <c:v>25</c:v>
                </c:pt>
                <c:pt idx="34">
                  <c:v>10</c:v>
                </c:pt>
                <c:pt idx="35">
                  <c:v>8</c:v>
                </c:pt>
                <c:pt idx="36">
                  <c:v>7</c:v>
                </c:pt>
                <c:pt idx="37">
                  <c:v>5</c:v>
                </c:pt>
                <c:pt idx="38">
                  <c:v>15</c:v>
                </c:pt>
                <c:pt idx="39">
                  <c:v>16</c:v>
                </c:pt>
                <c:pt idx="40">
                  <c:v>1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7.550718806676322</c:v>
                </c:pt>
                <c:pt idx="32">
                  <c:v>44.06863101002746</c:v>
                </c:pt>
                <c:pt idx="33">
                  <c:v>40.816127210870548</c:v>
                </c:pt>
                <c:pt idx="34">
                  <c:v>37.767022260072565</c:v>
                </c:pt>
                <c:pt idx="35">
                  <c:v>34.951631454035493</c:v>
                </c:pt>
                <c:pt idx="36">
                  <c:v>32.432950147585991</c:v>
                </c:pt>
                <c:pt idx="37">
                  <c:v>30.103620582595973</c:v>
                </c:pt>
                <c:pt idx="38">
                  <c:v>27.867624442332541</c:v>
                </c:pt>
                <c:pt idx="39">
                  <c:v>25.752575681302645</c:v>
                </c:pt>
                <c:pt idx="40">
                  <c:v>23.770197324985272</c:v>
                </c:pt>
                <c:pt idx="41">
                  <c:v>21.931691605941324</c:v>
                </c:pt>
                <c:pt idx="42">
                  <c:v>20.273187172491681</c:v>
                </c:pt>
                <c:pt idx="43">
                  <c:v>18.776461472742138</c:v>
                </c:pt>
                <c:pt idx="44">
                  <c:v>17.377871800079042</c:v>
                </c:pt>
                <c:pt idx="45">
                  <c:v>16.033685472701588</c:v>
                </c:pt>
                <c:pt idx="46">
                  <c:v>14.777716111009248</c:v>
                </c:pt>
                <c:pt idx="47">
                  <c:v>13.611431988485322</c:v>
                </c:pt>
                <c:pt idx="48">
                  <c:v>12.534841667677171</c:v>
                </c:pt>
                <c:pt idx="49">
                  <c:v>11.53820720118736</c:v>
                </c:pt>
                <c:pt idx="50">
                  <c:v>10.622176972566463</c:v>
                </c:pt>
                <c:pt idx="51">
                  <c:v>9.7601471501225419</c:v>
                </c:pt>
                <c:pt idx="52">
                  <c:v>8.9534900828768418</c:v>
                </c:pt>
                <c:pt idx="53">
                  <c:v>8.2009245778228195</c:v>
                </c:pt>
                <c:pt idx="54">
                  <c:v>7.4962766899707782</c:v>
                </c:pt>
                <c:pt idx="55">
                  <c:v>6.8369202640472135</c:v>
                </c:pt>
                <c:pt idx="56">
                  <c:v>6.2200501422919263</c:v>
                </c:pt>
                <c:pt idx="57">
                  <c:v>5.6482179192064219</c:v>
                </c:pt>
                <c:pt idx="58">
                  <c:v>5.1073040776464431</c:v>
                </c:pt>
                <c:pt idx="59">
                  <c:v>4.6097020498012267</c:v>
                </c:pt>
                <c:pt idx="60">
                  <c:v>4.1410429547744485</c:v>
                </c:pt>
                <c:pt idx="61">
                  <c:v>3.6960877942255519</c:v>
                </c:pt>
                <c:pt idx="62">
                  <c:v>3.2785410407466773</c:v>
                </c:pt>
                <c:pt idx="63">
                  <c:v>2.8945304069015529</c:v>
                </c:pt>
                <c:pt idx="64">
                  <c:v>2.5331295094913635</c:v>
                </c:pt>
                <c:pt idx="65">
                  <c:v>2.1922557872242061</c:v>
                </c:pt>
                <c:pt idx="66">
                  <c:v>1.8753157967133109</c:v>
                </c:pt>
                <c:pt idx="67">
                  <c:v>1.5822069325858827</c:v>
                </c:pt>
                <c:pt idx="68">
                  <c:v>1.3045983218060391</c:v>
                </c:pt>
                <c:pt idx="69">
                  <c:v>1.0468364573224671</c:v>
                </c:pt>
                <c:pt idx="70">
                  <c:v>0.80496563149108225</c:v>
                </c:pt>
                <c:pt idx="71">
                  <c:v>0.57736794020290771</c:v>
                </c:pt>
                <c:pt idx="72">
                  <c:v>0.36300550850380953</c:v>
                </c:pt>
                <c:pt idx="73">
                  <c:v>0.16272317359529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B-482F-B7E2-9CC395F07BA3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B-482F-B7E2-9CC395F07BA3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7.656320075348162</c:v>
                </c:pt>
                <c:pt idx="32">
                  <c:v>44.352100915097829</c:v>
                </c:pt>
                <c:pt idx="33">
                  <c:v>41.318322397913988</c:v>
                </c:pt>
                <c:pt idx="34">
                  <c:v>38.509717529856346</c:v>
                </c:pt>
                <c:pt idx="35">
                  <c:v>35.962143215217033</c:v>
                </c:pt>
                <c:pt idx="36">
                  <c:v>33.750673050113249</c:v>
                </c:pt>
                <c:pt idx="37">
                  <c:v>31.775606447408851</c:v>
                </c:pt>
                <c:pt idx="38">
                  <c:v>29.934328491822043</c:v>
                </c:pt>
                <c:pt idx="39">
                  <c:v>28.235108434427922</c:v>
                </c:pt>
                <c:pt idx="40">
                  <c:v>26.68088727329593</c:v>
                </c:pt>
                <c:pt idx="41">
                  <c:v>25.276100451892191</c:v>
                </c:pt>
                <c:pt idx="42">
                  <c:v>24.062255885965815</c:v>
                </c:pt>
                <c:pt idx="43">
                  <c:v>23.019952377047375</c:v>
                </c:pt>
                <c:pt idx="44">
                  <c:v>22.077565358707613</c:v>
                </c:pt>
                <c:pt idx="45">
                  <c:v>21.184158492877955</c:v>
                </c:pt>
                <c:pt idx="46">
                  <c:v>20.363392528751497</c:v>
                </c:pt>
                <c:pt idx="47">
                  <c:v>19.616619538041938</c:v>
                </c:pt>
                <c:pt idx="48">
                  <c:v>18.947264256551094</c:v>
                </c:pt>
                <c:pt idx="49">
                  <c:v>18.340432487599106</c:v>
                </c:pt>
                <c:pt idx="50">
                  <c:v>17.795360331163213</c:v>
                </c:pt>
                <c:pt idx="51">
                  <c:v>17.287598392799147</c:v>
                </c:pt>
                <c:pt idx="52">
                  <c:v>16.812650935996498</c:v>
                </c:pt>
                <c:pt idx="53">
                  <c:v>16.368391292639693</c:v>
                </c:pt>
                <c:pt idx="54">
                  <c:v>15.952714462396425</c:v>
                </c:pt>
                <c:pt idx="55">
                  <c:v>15.561944327393766</c:v>
                </c:pt>
                <c:pt idx="56">
                  <c:v>15.194025132912596</c:v>
                </c:pt>
                <c:pt idx="57">
                  <c:v>14.849435149660236</c:v>
                </c:pt>
                <c:pt idx="58">
                  <c:v>14.517411909417167</c:v>
                </c:pt>
                <c:pt idx="59">
                  <c:v>14.206129244904</c:v>
                </c:pt>
                <c:pt idx="60">
                  <c:v>13.907517780254871</c:v>
                </c:pt>
                <c:pt idx="61">
                  <c:v>13.615790296759075</c:v>
                </c:pt>
                <c:pt idx="62">
                  <c:v>13.335485779741003</c:v>
                </c:pt>
                <c:pt idx="63">
                  <c:v>13.070842944592496</c:v>
                </c:pt>
                <c:pt idx="64">
                  <c:v>12.814564758818198</c:v>
                </c:pt>
                <c:pt idx="65">
                  <c:v>12.5662032163702</c:v>
                </c:pt>
                <c:pt idx="66">
                  <c:v>12.327387422303087</c:v>
                </c:pt>
                <c:pt idx="67">
                  <c:v>12.095717358884151</c:v>
                </c:pt>
                <c:pt idx="68">
                  <c:v>11.872025554754241</c:v>
                </c:pt>
                <c:pt idx="69">
                  <c:v>11.654250836887988</c:v>
                </c:pt>
                <c:pt idx="70">
                  <c:v>11.44394044486519</c:v>
                </c:pt>
                <c:pt idx="71">
                  <c:v>11.238351147987107</c:v>
                </c:pt>
                <c:pt idx="72">
                  <c:v>11.036852621942437</c:v>
                </c:pt>
                <c:pt idx="73">
                  <c:v>10.84100592045365</c:v>
                </c:pt>
                <c:pt idx="74">
                  <c:v>10.651628200240413</c:v>
                </c:pt>
                <c:pt idx="75">
                  <c:v>10.466681824356835</c:v>
                </c:pt>
                <c:pt idx="76">
                  <c:v>10.282821014893472</c:v>
                </c:pt>
                <c:pt idx="77">
                  <c:v>10.108037929099524</c:v>
                </c:pt>
                <c:pt idx="78">
                  <c:v>9.93495956839574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B-482F-B7E2-9CC395F07BA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7.761921344020024</c:v>
                </c:pt>
                <c:pt idx="32">
                  <c:v>44.638504188742409</c:v>
                </c:pt>
                <c:pt idx="33">
                  <c:v>41.823991696125823</c:v>
                </c:pt>
                <c:pt idx="34">
                  <c:v>39.253084735615175</c:v>
                </c:pt>
                <c:pt idx="35">
                  <c:v>36.984597787472609</c:v>
                </c:pt>
                <c:pt idx="36">
                  <c:v>35.108827317231167</c:v>
                </c:pt>
                <c:pt idx="37">
                  <c:v>33.53736802070695</c:v>
                </c:pt>
                <c:pt idx="38">
                  <c:v>32.167842658548985</c:v>
                </c:pt>
                <c:pt idx="39">
                  <c:v>30.978909394684674</c:v>
                </c:pt>
                <c:pt idx="40">
                  <c:v>29.963045868107095</c:v>
                </c:pt>
                <c:pt idx="41">
                  <c:v>29.132489220194483</c:v>
                </c:pt>
                <c:pt idx="42">
                  <c:v>28.539453035813956</c:v>
                </c:pt>
                <c:pt idx="43">
                  <c:v>28.166712166949274</c:v>
                </c:pt>
                <c:pt idx="44">
                  <c:v>27.928923177634648</c:v>
                </c:pt>
                <c:pt idx="45">
                  <c:v>27.76901109338554</c:v>
                </c:pt>
                <c:pt idx="46">
                  <c:v>27.699655020695687</c:v>
                </c:pt>
                <c:pt idx="47">
                  <c:v>27.729872847836106</c:v>
                </c:pt>
                <c:pt idx="48">
                  <c:v>27.863950446326339</c:v>
                </c:pt>
                <c:pt idx="49">
                  <c:v>28.085762073527683</c:v>
                </c:pt>
                <c:pt idx="50">
                  <c:v>28.392029628879076</c:v>
                </c:pt>
                <c:pt idx="51">
                  <c:v>28.746746718666373</c:v>
                </c:pt>
                <c:pt idx="52">
                  <c:v>29.144178722648448</c:v>
                </c:pt>
                <c:pt idx="53">
                  <c:v>29.589256855709589</c:v>
                </c:pt>
                <c:pt idx="54">
                  <c:v>30.080785676528567</c:v>
                </c:pt>
                <c:pt idx="55">
                  <c:v>30.611771163101579</c:v>
                </c:pt>
                <c:pt idx="56">
                  <c:v>31.175564505643429</c:v>
                </c:pt>
                <c:pt idx="57">
                  <c:v>31.776158619717528</c:v>
                </c:pt>
                <c:pt idx="58">
                  <c:v>32.399578079309514</c:v>
                </c:pt>
                <c:pt idx="59">
                  <c:v>33.053050955963307</c:v>
                </c:pt>
                <c:pt idx="60">
                  <c:v>33.733807829329429</c:v>
                </c:pt>
                <c:pt idx="61">
                  <c:v>34.430677437617398</c:v>
                </c:pt>
                <c:pt idx="62">
                  <c:v>35.152352920904917</c:v>
                </c:pt>
                <c:pt idx="63">
                  <c:v>35.90017519528142</c:v>
                </c:pt>
                <c:pt idx="64">
                  <c:v>36.668686477230942</c:v>
                </c:pt>
                <c:pt idx="65">
                  <c:v>37.454483362787855</c:v>
                </c:pt>
                <c:pt idx="66">
                  <c:v>38.264259549756275</c:v>
                </c:pt>
                <c:pt idx="67">
                  <c:v>39.093034757667944</c:v>
                </c:pt>
                <c:pt idx="68">
                  <c:v>39.940487539555235</c:v>
                </c:pt>
                <c:pt idx="69">
                  <c:v>40.803828838166844</c:v>
                </c:pt>
                <c:pt idx="70">
                  <c:v>41.686991812717935</c:v>
                </c:pt>
                <c:pt idx="71">
                  <c:v>42.590109063659781</c:v>
                </c:pt>
                <c:pt idx="72">
                  <c:v>43.506700371517574</c:v>
                </c:pt>
                <c:pt idx="73">
                  <c:v>44.445602871244276</c:v>
                </c:pt>
                <c:pt idx="74">
                  <c:v>45.405440730091797</c:v>
                </c:pt>
                <c:pt idx="75">
                  <c:v>46.380314500589556</c:v>
                </c:pt>
                <c:pt idx="76">
                  <c:v>47.371578305756195</c:v>
                </c:pt>
                <c:pt idx="77">
                  <c:v>48.384700645312982</c:v>
                </c:pt>
                <c:pt idx="78">
                  <c:v>49.417046801843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B-482F-B7E2-9CC395F07BA3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B-482F-B7E2-9CC395F07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1</c:v>
                </c:pt>
                <c:pt idx="1">
                  <c:v>84</c:v>
                </c:pt>
                <c:pt idx="2">
                  <c:v>90</c:v>
                </c:pt>
                <c:pt idx="3">
                  <c:v>83</c:v>
                </c:pt>
                <c:pt idx="4">
                  <c:v>76</c:v>
                </c:pt>
                <c:pt idx="5">
                  <c:v>73</c:v>
                </c:pt>
                <c:pt idx="6">
                  <c:v>79</c:v>
                </c:pt>
                <c:pt idx="7">
                  <c:v>70</c:v>
                </c:pt>
                <c:pt idx="8">
                  <c:v>68</c:v>
                </c:pt>
                <c:pt idx="9">
                  <c:v>71</c:v>
                </c:pt>
                <c:pt idx="10">
                  <c:v>68</c:v>
                </c:pt>
                <c:pt idx="11">
                  <c:v>64</c:v>
                </c:pt>
                <c:pt idx="12">
                  <c:v>55</c:v>
                </c:pt>
                <c:pt idx="13">
                  <c:v>48</c:v>
                </c:pt>
                <c:pt idx="14">
                  <c:v>45</c:v>
                </c:pt>
                <c:pt idx="15">
                  <c:v>45</c:v>
                </c:pt>
                <c:pt idx="16">
                  <c:v>46</c:v>
                </c:pt>
                <c:pt idx="17">
                  <c:v>46</c:v>
                </c:pt>
                <c:pt idx="18">
                  <c:v>44</c:v>
                </c:pt>
                <c:pt idx="19">
                  <c:v>44</c:v>
                </c:pt>
                <c:pt idx="20">
                  <c:v>42</c:v>
                </c:pt>
                <c:pt idx="21">
                  <c:v>34</c:v>
                </c:pt>
                <c:pt idx="22">
                  <c:v>35</c:v>
                </c:pt>
                <c:pt idx="23">
                  <c:v>35</c:v>
                </c:pt>
                <c:pt idx="24">
                  <c:v>33</c:v>
                </c:pt>
                <c:pt idx="25">
                  <c:v>33</c:v>
                </c:pt>
                <c:pt idx="26">
                  <c:v>23</c:v>
                </c:pt>
                <c:pt idx="27">
                  <c:v>25</c:v>
                </c:pt>
                <c:pt idx="28">
                  <c:v>26</c:v>
                </c:pt>
                <c:pt idx="29">
                  <c:v>25</c:v>
                </c:pt>
                <c:pt idx="30">
                  <c:v>24</c:v>
                </c:pt>
                <c:pt idx="31">
                  <c:v>20</c:v>
                </c:pt>
                <c:pt idx="32">
                  <c:v>19</c:v>
                </c:pt>
                <c:pt idx="33">
                  <c:v>17</c:v>
                </c:pt>
                <c:pt idx="34">
                  <c:v>18</c:v>
                </c:pt>
                <c:pt idx="35">
                  <c:v>17</c:v>
                </c:pt>
                <c:pt idx="36">
                  <c:v>18</c:v>
                </c:pt>
                <c:pt idx="37">
                  <c:v>17</c:v>
                </c:pt>
                <c:pt idx="38">
                  <c:v>15</c:v>
                </c:pt>
                <c:pt idx="39">
                  <c:v>11</c:v>
                </c:pt>
                <c:pt idx="40">
                  <c:v>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1.259050606633497</c:v>
                </c:pt>
                <c:pt idx="32">
                  <c:v>19.664493851402128</c:v>
                </c:pt>
                <c:pt idx="33">
                  <c:v>18.18229285551158</c:v>
                </c:pt>
                <c:pt idx="34">
                  <c:v>16.787568627858512</c:v>
                </c:pt>
                <c:pt idx="35">
                  <c:v>15.494993960351515</c:v>
                </c:pt>
                <c:pt idx="36">
                  <c:v>14.33789431669237</c:v>
                </c:pt>
                <c:pt idx="37">
                  <c:v>13.262929537297167</c:v>
                </c:pt>
                <c:pt idx="38">
                  <c:v>12.224429455193455</c:v>
                </c:pt>
                <c:pt idx="39">
                  <c:v>11.246489778564861</c:v>
                </c:pt>
                <c:pt idx="40">
                  <c:v>10.33379886494402</c:v>
                </c:pt>
                <c:pt idx="41">
                  <c:v>9.481644337606479</c:v>
                </c:pt>
                <c:pt idx="42">
                  <c:v>8.7096899312852223</c:v>
                </c:pt>
                <c:pt idx="43">
                  <c:v>8.0114077207927856</c:v>
                </c:pt>
                <c:pt idx="44">
                  <c:v>7.3510190234961357</c:v>
                </c:pt>
                <c:pt idx="45">
                  <c:v>6.7138146920463582</c:v>
                </c:pt>
                <c:pt idx="46">
                  <c:v>6.1184105409961047</c:v>
                </c:pt>
                <c:pt idx="47">
                  <c:v>5.5658932729399835</c:v>
                </c:pt>
                <c:pt idx="48">
                  <c:v>5.0517502260156633</c:v>
                </c:pt>
                <c:pt idx="49">
                  <c:v>4.5734505189530879</c:v>
                </c:pt>
                <c:pt idx="50">
                  <c:v>4.1338596483344503</c:v>
                </c:pt>
                <c:pt idx="51">
                  <c:v>3.716382661899869</c:v>
                </c:pt>
                <c:pt idx="52">
                  <c:v>3.3235599463476406</c:v>
                </c:pt>
                <c:pt idx="53">
                  <c:v>2.9575338875006345</c:v>
                </c:pt>
                <c:pt idx="54">
                  <c:v>2.6145026483199389</c:v>
                </c:pt>
                <c:pt idx="55">
                  <c:v>2.2920112618430712</c:v>
                </c:pt>
                <c:pt idx="56">
                  <c:v>1.9904540634806822</c:v>
                </c:pt>
                <c:pt idx="57">
                  <c:v>1.7110755907749589</c:v>
                </c:pt>
                <c:pt idx="58">
                  <c:v>1.4440191013123631</c:v>
                </c:pt>
                <c:pt idx="59">
                  <c:v>1.1982763025535874</c:v>
                </c:pt>
                <c:pt idx="60">
                  <c:v>0.9671079133933187</c:v>
                </c:pt>
                <c:pt idx="61">
                  <c:v>0.74835243094537918</c:v>
                </c:pt>
                <c:pt idx="62">
                  <c:v>0.5415466194233105</c:v>
                </c:pt>
                <c:pt idx="63">
                  <c:v>0.35159065229309161</c:v>
                </c:pt>
                <c:pt idx="64">
                  <c:v>0.17357349285290469</c:v>
                </c:pt>
                <c:pt idx="65">
                  <c:v>4.207368460817262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81-4D20-9F13-9848C06A0752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81-4D20-9F13-9848C06A0752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1.308627701231067</c:v>
                </c:pt>
                <c:pt idx="32">
                  <c:v>19.797697567123571</c:v>
                </c:pt>
                <c:pt idx="33">
                  <c:v>18.418893011886389</c:v>
                </c:pt>
                <c:pt idx="34">
                  <c:v>17.138592792398068</c:v>
                </c:pt>
                <c:pt idx="35">
                  <c:v>15.974331580167586</c:v>
                </c:pt>
                <c:pt idx="36">
                  <c:v>14.965375229730595</c:v>
                </c:pt>
                <c:pt idx="37">
                  <c:v>14.062072240710888</c:v>
                </c:pt>
                <c:pt idx="38">
                  <c:v>13.215734710992251</c:v>
                </c:pt>
                <c:pt idx="39">
                  <c:v>12.441206499414713</c:v>
                </c:pt>
                <c:pt idx="40">
                  <c:v>11.73884882918821</c:v>
                </c:pt>
                <c:pt idx="41">
                  <c:v>11.100451872494972</c:v>
                </c:pt>
                <c:pt idx="42">
                  <c:v>10.547975083965786</c:v>
                </c:pt>
                <c:pt idx="43">
                  <c:v>10.074123171886878</c:v>
                </c:pt>
                <c:pt idx="44">
                  <c:v>9.6392230853358249</c:v>
                </c:pt>
                <c:pt idx="45">
                  <c:v>9.225060935350351</c:v>
                </c:pt>
                <c:pt idx="46">
                  <c:v>8.8453505489209956</c:v>
                </c:pt>
                <c:pt idx="47">
                  <c:v>8.5009902692524193</c:v>
                </c:pt>
                <c:pt idx="48">
                  <c:v>8.1889356707748018</c:v>
                </c:pt>
                <c:pt idx="49">
                  <c:v>7.9041442878216994</c:v>
                </c:pt>
                <c:pt idx="50">
                  <c:v>7.6487460001906067</c:v>
                </c:pt>
                <c:pt idx="51">
                  <c:v>7.4071448465078458</c:v>
                </c:pt>
                <c:pt idx="52">
                  <c:v>7.1790943745153495</c:v>
                </c:pt>
                <c:pt idx="53">
                  <c:v>6.9663490477927184</c:v>
                </c:pt>
                <c:pt idx="54">
                  <c:v>6.7669816884285305</c:v>
                </c:pt>
                <c:pt idx="55">
                  <c:v>6.5780348858802267</c:v>
                </c:pt>
                <c:pt idx="56">
                  <c:v>6.4002680364721751</c:v>
                </c:pt>
                <c:pt idx="57">
                  <c:v>6.2339757035933445</c:v>
                </c:pt>
                <c:pt idx="58">
                  <c:v>6.0708893866784424</c:v>
                </c:pt>
                <c:pt idx="59">
                  <c:v>5.918033958550919</c:v>
                </c:pt>
                <c:pt idx="60">
                  <c:v>5.7716427771058969</c:v>
                </c:pt>
                <c:pt idx="61">
                  <c:v>5.6293011922859257</c:v>
                </c:pt>
                <c:pt idx="62">
                  <c:v>5.4909740185273428</c:v>
                </c:pt>
                <c:pt idx="63">
                  <c:v>5.3606938628338217</c:v>
                </c:pt>
                <c:pt idx="64">
                  <c:v>5.2352532649348582</c:v>
                </c:pt>
                <c:pt idx="65">
                  <c:v>5.1121593861475052</c:v>
                </c:pt>
                <c:pt idx="66">
                  <c:v>4.9935111850021343</c:v>
                </c:pt>
                <c:pt idx="67">
                  <c:v>4.8783887708030775</c:v>
                </c:pt>
                <c:pt idx="68">
                  <c:v>4.7674624122645586</c:v>
                </c:pt>
                <c:pt idx="69">
                  <c:v>4.659346807013419</c:v>
                </c:pt>
                <c:pt idx="70">
                  <c:v>4.5553257637641646</c:v>
                </c:pt>
                <c:pt idx="71">
                  <c:v>4.4539546156309671</c:v>
                </c:pt>
                <c:pt idx="72">
                  <c:v>4.3537863115816329</c:v>
                </c:pt>
                <c:pt idx="73">
                  <c:v>4.256539368640615</c:v>
                </c:pt>
                <c:pt idx="74">
                  <c:v>4.1627933877040579</c:v>
                </c:pt>
                <c:pt idx="75">
                  <c:v>4.071222028569224</c:v>
                </c:pt>
                <c:pt idx="76">
                  <c:v>3.97985810939511</c:v>
                </c:pt>
                <c:pt idx="77">
                  <c:v>3.8936993354678466</c:v>
                </c:pt>
                <c:pt idx="78">
                  <c:v>3.8082497594268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81-4D20-9F13-9848C06A0752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1.358204795828641</c:v>
                </c:pt>
                <c:pt idx="32">
                  <c:v>19.932278424361609</c:v>
                </c:pt>
                <c:pt idx="33">
                  <c:v>18.657127559200781</c:v>
                </c:pt>
                <c:pt idx="34">
                  <c:v>17.489950457923563</c:v>
                </c:pt>
                <c:pt idx="35">
                  <c:v>16.459304885071475</c:v>
                </c:pt>
                <c:pt idx="36">
                  <c:v>15.611883808204038</c:v>
                </c:pt>
                <c:pt idx="37">
                  <c:v>14.903505461233536</c:v>
                </c:pt>
                <c:pt idx="38">
                  <c:v>14.285735748514895</c:v>
                </c:pt>
                <c:pt idx="39">
                  <c:v>13.759458394470887</c:v>
                </c:pt>
                <c:pt idx="40">
                  <c:v>13.320054649251606</c:v>
                </c:pt>
                <c:pt idx="41">
                  <c:v>12.962742933371668</c:v>
                </c:pt>
                <c:pt idx="42">
                  <c:v>12.71438862590151</c:v>
                </c:pt>
                <c:pt idx="43">
                  <c:v>12.56861775103534</c:v>
                </c:pt>
                <c:pt idx="44">
                  <c:v>12.479240075853424</c:v>
                </c:pt>
                <c:pt idx="45">
                  <c:v>12.425092195760691</c:v>
                </c:pt>
                <c:pt idx="46">
                  <c:v>12.414621079112944</c:v>
                </c:pt>
                <c:pt idx="47">
                  <c:v>12.452220702648344</c:v>
                </c:pt>
                <c:pt idx="48">
                  <c:v>12.535142404805551</c:v>
                </c:pt>
                <c:pt idx="49">
                  <c:v>12.657709699392374</c:v>
                </c:pt>
                <c:pt idx="50">
                  <c:v>12.820812789280051</c:v>
                </c:pt>
                <c:pt idx="51">
                  <c:v>13.003426477066137</c:v>
                </c:pt>
                <c:pt idx="52">
                  <c:v>13.204686640150008</c:v>
                </c:pt>
                <c:pt idx="53">
                  <c:v>13.429602306740868</c:v>
                </c:pt>
                <c:pt idx="54">
                  <c:v>13.676625258531146</c:v>
                </c:pt>
                <c:pt idx="55">
                  <c:v>13.941212636880215</c:v>
                </c:pt>
                <c:pt idx="56">
                  <c:v>14.221942277681109</c:v>
                </c:pt>
                <c:pt idx="57">
                  <c:v>14.520757513491354</c:v>
                </c:pt>
                <c:pt idx="58">
                  <c:v>14.827862708740319</c:v>
                </c:pt>
                <c:pt idx="59">
                  <c:v>15.149841859405749</c:v>
                </c:pt>
                <c:pt idx="60">
                  <c:v>15.485398844652748</c:v>
                </c:pt>
                <c:pt idx="61">
                  <c:v>15.829590027114779</c:v>
                </c:pt>
                <c:pt idx="62">
                  <c:v>16.184347775620225</c:v>
                </c:pt>
                <c:pt idx="63">
                  <c:v>16.552330157980332</c:v>
                </c:pt>
                <c:pt idx="64">
                  <c:v>16.931192647687148</c:v>
                </c:pt>
                <c:pt idx="65">
                  <c:v>17.317050643993536</c:v>
                </c:pt>
                <c:pt idx="66">
                  <c:v>17.714391251481327</c:v>
                </c:pt>
                <c:pt idx="67">
                  <c:v>18.121095160563449</c:v>
                </c:pt>
                <c:pt idx="68">
                  <c:v>18.537311100808267</c:v>
                </c:pt>
                <c:pt idx="69">
                  <c:v>18.961312836984835</c:v>
                </c:pt>
                <c:pt idx="70">
                  <c:v>19.395482797111626</c:v>
                </c:pt>
                <c:pt idx="71">
                  <c:v>19.839731231025048</c:v>
                </c:pt>
                <c:pt idx="72">
                  <c:v>20.289877471299995</c:v>
                </c:pt>
                <c:pt idx="73">
                  <c:v>20.751067429614402</c:v>
                </c:pt>
                <c:pt idx="74">
                  <c:v>21.222829219632004</c:v>
                </c:pt>
                <c:pt idx="75">
                  <c:v>21.702058098892593</c:v>
                </c:pt>
                <c:pt idx="76">
                  <c:v>22.188998425914832</c:v>
                </c:pt>
                <c:pt idx="77">
                  <c:v>22.687466851963634</c:v>
                </c:pt>
                <c:pt idx="78">
                  <c:v>23.1952157855772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81-4D20-9F13-9848C06A0752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81-4D20-9F13-9848C06A0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1</c:v>
                </c:pt>
                <c:pt idx="1">
                  <c:v>41</c:v>
                </c:pt>
                <c:pt idx="2">
                  <c:v>42</c:v>
                </c:pt>
                <c:pt idx="3">
                  <c:v>37</c:v>
                </c:pt>
                <c:pt idx="4">
                  <c:v>34</c:v>
                </c:pt>
                <c:pt idx="5">
                  <c:v>31</c:v>
                </c:pt>
                <c:pt idx="6">
                  <c:v>35</c:v>
                </c:pt>
                <c:pt idx="7">
                  <c:v>28</c:v>
                </c:pt>
                <c:pt idx="8">
                  <c:v>32</c:v>
                </c:pt>
                <c:pt idx="9">
                  <c:v>34</c:v>
                </c:pt>
                <c:pt idx="10">
                  <c:v>30</c:v>
                </c:pt>
                <c:pt idx="11">
                  <c:v>24</c:v>
                </c:pt>
                <c:pt idx="12">
                  <c:v>23</c:v>
                </c:pt>
                <c:pt idx="13">
                  <c:v>23</c:v>
                </c:pt>
                <c:pt idx="14">
                  <c:v>18</c:v>
                </c:pt>
                <c:pt idx="15">
                  <c:v>18</c:v>
                </c:pt>
                <c:pt idx="16">
                  <c:v>33</c:v>
                </c:pt>
                <c:pt idx="17">
                  <c:v>15</c:v>
                </c:pt>
                <c:pt idx="18">
                  <c:v>12</c:v>
                </c:pt>
                <c:pt idx="19">
                  <c:v>11</c:v>
                </c:pt>
                <c:pt idx="20">
                  <c:v>11</c:v>
                </c:pt>
                <c:pt idx="21">
                  <c:v>7</c:v>
                </c:pt>
                <c:pt idx="22">
                  <c:v>8</c:v>
                </c:pt>
                <c:pt idx="23">
                  <c:v>9</c:v>
                </c:pt>
                <c:pt idx="24">
                  <c:v>7</c:v>
                </c:pt>
                <c:pt idx="25">
                  <c:v>8</c:v>
                </c:pt>
                <c:pt idx="26">
                  <c:v>10</c:v>
                </c:pt>
                <c:pt idx="27">
                  <c:v>6</c:v>
                </c:pt>
                <c:pt idx="28">
                  <c:v>3</c:v>
                </c:pt>
                <c:pt idx="29">
                  <c:v>3</c:v>
                </c:pt>
                <c:pt idx="30">
                  <c:v>5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.4998373722437406</c:v>
                </c:pt>
                <c:pt idx="32">
                  <c:v>3.2309384972325317</c:v>
                </c:pt>
                <c:pt idx="33">
                  <c:v>2.9821793908480743</c:v>
                </c:pt>
                <c:pt idx="34">
                  <c:v>2.7472363463462459</c:v>
                </c:pt>
                <c:pt idx="35">
                  <c:v>2.5287142496948229</c:v>
                </c:pt>
                <c:pt idx="36">
                  <c:v>2.3329724074488394</c:v>
                </c:pt>
                <c:pt idx="37">
                  <c:v>2.150325903204052</c:v>
                </c:pt>
                <c:pt idx="38">
                  <c:v>1.9727923375153025</c:v>
                </c:pt>
                <c:pt idx="39">
                  <c:v>1.8063259371539124</c:v>
                </c:pt>
                <c:pt idx="40">
                  <c:v>1.6516050385613079</c:v>
                </c:pt>
                <c:pt idx="41">
                  <c:v>1.5062096965875644</c:v>
                </c:pt>
                <c:pt idx="42">
                  <c:v>1.3739710122614071</c:v>
                </c:pt>
                <c:pt idx="43">
                  <c:v>1.2540881500702858</c:v>
                </c:pt>
                <c:pt idx="44">
                  <c:v>1.1394319499484047</c:v>
                </c:pt>
                <c:pt idx="45">
                  <c:v>1.028400004885496</c:v>
                </c:pt>
                <c:pt idx="46">
                  <c:v>0.92464871454558861</c:v>
                </c:pt>
                <c:pt idx="47">
                  <c:v>0.82842975559385545</c:v>
                </c:pt>
                <c:pt idx="48">
                  <c:v>0.73823629874150432</c:v>
                </c:pt>
                <c:pt idx="49">
                  <c:v>0.65395999371984814</c:v>
                </c:pt>
                <c:pt idx="50">
                  <c:v>0.5765082210753123</c:v>
                </c:pt>
                <c:pt idx="51">
                  <c:v>0.50235388101598311</c:v>
                </c:pt>
                <c:pt idx="52">
                  <c:v>0.43224109707710456</c:v>
                </c:pt>
                <c:pt idx="53">
                  <c:v>0.36698181184672601</c:v>
                </c:pt>
                <c:pt idx="54">
                  <c:v>0.30577396343102903</c:v>
                </c:pt>
                <c:pt idx="55">
                  <c:v>0.24799675060898035</c:v>
                </c:pt>
                <c:pt idx="56">
                  <c:v>0.19399391394800899</c:v>
                </c:pt>
                <c:pt idx="57">
                  <c:v>0.14398789038385523</c:v>
                </c:pt>
                <c:pt idx="58">
                  <c:v>9.5756523380014655E-2</c:v>
                </c:pt>
                <c:pt idx="59">
                  <c:v>5.1363773879070651E-2</c:v>
                </c:pt>
                <c:pt idx="60">
                  <c:v>9.646850654200234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9F-4B03-B16D-A9B0EB615A4A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9F-4B03-B16D-A9B0EB615A4A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.5083991227444065</c:v>
                </c:pt>
                <c:pt idx="32">
                  <c:v>3.2539618306492306</c:v>
                </c:pt>
                <c:pt idx="33">
                  <c:v>3.0231732880885334</c:v>
                </c:pt>
                <c:pt idx="34">
                  <c:v>2.8082348606548075</c:v>
                </c:pt>
                <c:pt idx="35">
                  <c:v>2.6122875854502139</c:v>
                </c:pt>
                <c:pt idx="36">
                  <c:v>2.4427601328611006</c:v>
                </c:pt>
                <c:pt idx="37">
                  <c:v>2.2906197127409049</c:v>
                </c:pt>
                <c:pt idx="38">
                  <c:v>2.1473755325793196</c:v>
                </c:pt>
                <c:pt idx="39">
                  <c:v>2.0173566814254853</c:v>
                </c:pt>
                <c:pt idx="40">
                  <c:v>1.9004613277979374</c:v>
                </c:pt>
                <c:pt idx="41">
                  <c:v>1.7936138893728366</c:v>
                </c:pt>
                <c:pt idx="42">
                  <c:v>1.7010049284344511</c:v>
                </c:pt>
                <c:pt idx="43">
                  <c:v>1.6216666155597039</c:v>
                </c:pt>
                <c:pt idx="44">
                  <c:v>1.5477735580716159</c:v>
                </c:pt>
                <c:pt idx="45">
                  <c:v>1.4770983140322924</c:v>
                </c:pt>
                <c:pt idx="46">
                  <c:v>1.4124289098516138</c:v>
                </c:pt>
                <c:pt idx="47">
                  <c:v>1.3539629409676492</c:v>
                </c:pt>
                <c:pt idx="48">
                  <c:v>1.3004252996589125</c:v>
                </c:pt>
                <c:pt idx="49">
                  <c:v>1.2512592612798001</c:v>
                </c:pt>
                <c:pt idx="50">
                  <c:v>1.2072334769769606</c:v>
                </c:pt>
                <c:pt idx="51">
                  <c:v>1.1649913610477938</c:v>
                </c:pt>
                <c:pt idx="52">
                  <c:v>1.1247906200627544</c:v>
                </c:pt>
                <c:pt idx="53">
                  <c:v>1.0873776548394183</c:v>
                </c:pt>
                <c:pt idx="54">
                  <c:v>1.0522684138444736</c:v>
                </c:pt>
                <c:pt idx="55">
                  <c:v>1.0187537937372881</c:v>
                </c:pt>
                <c:pt idx="56">
                  <c:v>0.98724271137933028</c:v>
                </c:pt>
                <c:pt idx="57">
                  <c:v>0.95779731608813856</c:v>
                </c:pt>
                <c:pt idx="58">
                  <c:v>0.92847169784026828</c:v>
                </c:pt>
                <c:pt idx="59">
                  <c:v>0.90099243439974352</c:v>
                </c:pt>
                <c:pt idx="60">
                  <c:v>0.87471254196131287</c:v>
                </c:pt>
                <c:pt idx="61">
                  <c:v>0.84926371318535931</c:v>
                </c:pt>
                <c:pt idx="62">
                  <c:v>0.82429096938464363</c:v>
                </c:pt>
                <c:pt idx="63">
                  <c:v>0.80081973676544127</c:v>
                </c:pt>
                <c:pt idx="64">
                  <c:v>0.77833126442225331</c:v>
                </c:pt>
                <c:pt idx="65">
                  <c:v>0.75602740065748342</c:v>
                </c:pt>
                <c:pt idx="66">
                  <c:v>0.73448551873137857</c:v>
                </c:pt>
                <c:pt idx="67">
                  <c:v>0.71358007628462483</c:v>
                </c:pt>
                <c:pt idx="68">
                  <c:v>0.69347183228680698</c:v>
                </c:pt>
                <c:pt idx="69">
                  <c:v>0.67385428168961126</c:v>
                </c:pt>
                <c:pt idx="70">
                  <c:v>0.65503891749862475</c:v>
                </c:pt>
                <c:pt idx="71">
                  <c:v>0.63675099741626506</c:v>
                </c:pt>
                <c:pt idx="72">
                  <c:v>0.61855520689991761</c:v>
                </c:pt>
                <c:pt idx="73">
                  <c:v>0.60090708603088117</c:v>
                </c:pt>
                <c:pt idx="74">
                  <c:v>0.58393829418291388</c:v>
                </c:pt>
                <c:pt idx="75">
                  <c:v>0.56736022620733362</c:v>
                </c:pt>
                <c:pt idx="76">
                  <c:v>0.55076930526900503</c:v>
                </c:pt>
                <c:pt idx="77">
                  <c:v>0.53522924379660541</c:v>
                </c:pt>
                <c:pt idx="78">
                  <c:v>0.51979697972139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9F-4B03-B16D-A9B0EB615A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.5169608732450728</c:v>
                </c:pt>
                <c:pt idx="32">
                  <c:v>3.2772229904687253</c:v>
                </c:pt>
                <c:pt idx="33">
                  <c:v>3.0644499827641498</c:v>
                </c:pt>
                <c:pt idx="34">
                  <c:v>2.8692938755707318</c:v>
                </c:pt>
                <c:pt idx="35">
                  <c:v>2.6968388251693423</c:v>
                </c:pt>
                <c:pt idx="36">
                  <c:v>2.5558412913961224</c:v>
                </c:pt>
                <c:pt idx="37">
                  <c:v>2.4382399646346564</c:v>
                </c:pt>
                <c:pt idx="38">
                  <c:v>2.3356107919478122</c:v>
                </c:pt>
                <c:pt idx="39">
                  <c:v>2.2498625868224718</c:v>
                </c:pt>
                <c:pt idx="40">
                  <c:v>2.1800225943392428</c:v>
                </c:pt>
                <c:pt idx="41">
                  <c:v>2.1235695126099965</c:v>
                </c:pt>
                <c:pt idx="42">
                  <c:v>2.0855217889877147</c:v>
                </c:pt>
                <c:pt idx="43">
                  <c:v>2.0650545483467919</c:v>
                </c:pt>
                <c:pt idx="44">
                  <c:v>2.0532045829408956</c:v>
                </c:pt>
                <c:pt idx="45">
                  <c:v>2.0472241964776741</c:v>
                </c:pt>
                <c:pt idx="46">
                  <c:v>2.048973930968141</c:v>
                </c:pt>
                <c:pt idx="47">
                  <c:v>2.0592384285573426</c:v>
                </c:pt>
                <c:pt idx="48">
                  <c:v>2.0767761795870845</c:v>
                </c:pt>
                <c:pt idx="49">
                  <c:v>2.1009119723335616</c:v>
                </c:pt>
                <c:pt idx="50">
                  <c:v>2.1321908156202172</c:v>
                </c:pt>
                <c:pt idx="51">
                  <c:v>2.1663179510381765</c:v>
                </c:pt>
                <c:pt idx="52">
                  <c:v>2.2034386101235883</c:v>
                </c:pt>
                <c:pt idx="53">
                  <c:v>2.2448517508402941</c:v>
                </c:pt>
                <c:pt idx="54">
                  <c:v>2.2901310260043242</c:v>
                </c:pt>
                <c:pt idx="55">
                  <c:v>2.3382890581244373</c:v>
                </c:pt>
                <c:pt idx="56">
                  <c:v>2.3893539527497323</c:v>
                </c:pt>
                <c:pt idx="57">
                  <c:v>2.4436723904956583</c:v>
                </c:pt>
                <c:pt idx="58">
                  <c:v>2.4990317142601954</c:v>
                </c:pt>
                <c:pt idx="59">
                  <c:v>2.5570828690508476</c:v>
                </c:pt>
                <c:pt idx="60">
                  <c:v>2.6176026729204649</c:v>
                </c:pt>
                <c:pt idx="61">
                  <c:v>2.6797858612249992</c:v>
                </c:pt>
                <c:pt idx="62">
                  <c:v>2.7436200275701337</c:v>
                </c:pt>
                <c:pt idx="63">
                  <c:v>2.8098909506084002</c:v>
                </c:pt>
                <c:pt idx="64">
                  <c:v>2.8782288163344401</c:v>
                </c:pt>
                <c:pt idx="65">
                  <c:v>2.9475944326214472</c:v>
                </c:pt>
                <c:pt idx="66">
                  <c:v>3.0189792783485734</c:v>
                </c:pt>
                <c:pt idx="67">
                  <c:v>3.0920526012509812</c:v>
                </c:pt>
                <c:pt idx="68">
                  <c:v>3.1668883500817628</c:v>
                </c:pt>
                <c:pt idx="69">
                  <c:v>3.2431212694321259</c:v>
                </c:pt>
                <c:pt idx="70">
                  <c:v>3.3212491146322511</c:v>
                </c:pt>
                <c:pt idx="71">
                  <c:v>3.401231902803318</c:v>
                </c:pt>
                <c:pt idx="72">
                  <c:v>3.4821642908797648</c:v>
                </c:pt>
                <c:pt idx="73">
                  <c:v>3.5650955612113662</c:v>
                </c:pt>
                <c:pt idx="74">
                  <c:v>3.6499722527776655</c:v>
                </c:pt>
                <c:pt idx="75">
                  <c:v>3.7362042141881484</c:v>
                </c:pt>
                <c:pt idx="76">
                  <c:v>3.8237706066497239</c:v>
                </c:pt>
                <c:pt idx="77">
                  <c:v>3.9135317818442465</c:v>
                </c:pt>
                <c:pt idx="78">
                  <c:v>4.00493680130490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9F-4B03-B16D-A9B0EB615A4A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9F-4B03-B16D-A9B0EB615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241222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18548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865367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683268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67951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19486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205105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07360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48005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107188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1758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20640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48946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87453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32502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014774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802335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371210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9696988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488552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6679918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8570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2827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1690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46438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217509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67875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85818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64766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8629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73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8408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3636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0244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2480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623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6557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8811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5589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0887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25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26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1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1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15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chart" Target="../charts/chart16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chart" Target="../charts/chart17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chart" Target="../charts/chart18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chart" Target="../charts/chart19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chart" Target="../charts/chart2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chart" Target="../charts/chart2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chart" Target="../charts/chart2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chart" Target="../charts/chart2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chart" Target="../charts/chart24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chart" Target="../charts/chart25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chart" Target="../charts/chart26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chart" Target="../charts/chart2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chart" Target="../charts/chart28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chart" Target="../charts/chart29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chart" Target="../charts/chart3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všech hospitalizovaných pacientů</a:t>
            </a:r>
          </a:p>
        </p:txBody>
      </p:sp>
    </p:spTree>
    <p:extLst>
      <p:ext uri="{BB962C8B-B14F-4D97-AF65-F5344CB8AC3E}">
        <p14:creationId xmlns:p14="http://schemas.microsoft.com/office/powerpoint/2010/main" val="34957092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2238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83B67504-8AFE-4C26-B285-52B5B83B320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DCB235D-0472-4F9E-BD9C-65206B6D302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28" name="Chart 11">
            <a:extLst>
              <a:ext uri="{FF2B5EF4-FFF2-40B4-BE49-F238E27FC236}">
                <a16:creationId xmlns:a16="http://schemas.microsoft.com/office/drawing/2014/main" id="{52692F77-DF7D-483D-91A2-DFEEC121B0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673108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5511022-03D4-4E80-B216-EA13B5A27B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029167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4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4370E-99A8-4BBA-91BE-80713BED735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135ED0B-4F73-426B-80E6-3EF2B947E3E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734F0AE8-C8CC-4D87-A7C6-DD9D39683F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6D29E53C-EF2D-4734-A88A-9CC3AF67511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AA1B6F1-84C3-448A-BE67-39D672AFC3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918A902E-73B4-4477-BE0F-494A590D55F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E245EF7E-C523-4F2D-811E-A468F26BBCB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1FF531D8-CBE2-4C2B-9C9E-89FD9C8702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DBEB3ABD-876B-4733-BC43-DC1EEBD99A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3AC64064-5164-4B0A-9C92-BCFBB44BC10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380765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5" y="1018804"/>
            <a:ext cx="180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41B85D6D-997A-4EB4-B296-0ACD0CE56C6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8DFB7ED8-0316-4A6B-94CB-8AB9C1CF96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160F7EB4-18AD-49AB-849C-F0303F82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141742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19661AB-6C73-4AF9-878B-DD6F10E8C3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945969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3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0216316-09EF-47C1-BF79-4013686EE2A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2217892-859E-436A-9DEC-1EF74B0FFEF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50497E0-8303-4794-AD97-B1047E7C6F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3C14360-37A5-45CF-B96E-6BEDE1941B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1C32C150-5F40-47DB-9029-36AE82E7C56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1E29F5-2E64-48ED-AAE6-13E2C24797C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99C4B11C-365F-4BE5-9840-4ADEF5833F6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3236DAE-23E9-4F78-9265-A5C32AF45A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D1099706-1F75-4EAB-86C1-503B1E08FE7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105F5911-8B77-44A3-B054-C1B73CFBE93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473551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1C0A30EC-3FCA-402F-A235-5AD55085834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57A3BE4A-2553-4959-BD87-4AFFF60B5E2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8EE1AF07-7061-4D30-ACCA-B0AF2C120A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109495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922199BF-5D51-43B4-80D1-B500AC2F1B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298150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4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0EE8919-0595-4496-9A81-7AC263BAE9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00F22DE-D239-4D51-951E-0D120C07FDF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74B7B0C-019C-4A67-82E3-95D8372F0A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0DF89D-B4C2-4260-8835-EB357A1CA92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4A5D2A7E-4D1A-4E67-86DF-9F8F15CDA27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5DB157CD-99B1-439F-9E50-7E53855CF1D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3C695B96-0635-4CA6-93C2-B0860F8EF5B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B6B5E432-50C4-4A91-B9C9-539D5CC949C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DE0E3DC2-EB20-4688-A588-35B22469F02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05278BE2-DC95-4ACB-AFFE-AE87206E853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395818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8EC20B5E-5524-4196-BE3B-79C8B00495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6E05A449-6968-4B4B-95F8-F76BBF8562C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FC3549B5-2A77-4DC4-96B2-2AC373494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311099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4C07FFB2-BED6-4924-919E-0AABED4CB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7415703"/>
              </p:ext>
            </p:extLst>
          </p:nvPr>
        </p:nvGraphicFramePr>
        <p:xfrm>
          <a:off x="4617578" y="110926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88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C3EA8BE-1A11-4D28-9473-B0F5DF679A1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0A665D2-5C9F-4B66-97EB-40BF0363477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98A9C64C-D8A3-45B5-979A-3DBBCED12B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84715229-AB3F-445B-8B20-473107E17F4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0CAA9EB-8C06-4CEA-9D60-278AC8D64FC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6ED801E6-4943-4373-934E-72E28F4F1E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F762E0CF-2722-4430-9885-440664279B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667E392-FEC8-4E3F-BC43-54BEF844F50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30F8C31B-4361-47A6-A1A2-F6A2242F56A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37255F7B-7781-4D0C-92B8-F95A8AD1EB0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621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762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1465D42B-38B4-42BC-97C2-68F25A570D1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B3866A5-03A0-41F6-BB11-76B30F0A45D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3C4EE868-A420-4812-B0EB-DB9558EA0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4677792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9E806956-C919-4F47-AFAF-6BE06F2044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1906018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7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6CAF449-3033-4353-B51F-89D90551416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59B0987-D58A-4C73-92BB-629B85EEDD7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71791B0-46D6-459F-92D3-6CBE3A964F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E5FBFA0C-CF7D-4E85-AEB5-9A87B33C708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DE67DC6B-CEEA-4EBD-BC15-FA2781100E7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83043348-2F6E-4F36-BEE7-6FB3D652157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8F865E39-EB74-4265-8C38-9C3105D9EE1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42C1FA69-2D11-4BEB-B366-6DD0B778B08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B0308607-BABB-4B61-9148-E6F936430BE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668E520-1317-4BD4-B8C5-70EFAA63323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159232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266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41AE2BC-89C6-4063-82C5-5CBB4B4DD8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D27D601-AFF9-4136-BCD7-E0FBCE597912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22A74D65-D60C-4129-8A2C-828CE41F6F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68930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98F6517A-1FA3-4259-8354-1FB0C6624D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421332"/>
              </p:ext>
            </p:extLst>
          </p:nvPr>
        </p:nvGraphicFramePr>
        <p:xfrm>
          <a:off x="4617576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5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3EEC7CD-5532-4268-88C3-CFCA8F01ED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47BADEE-D56E-4237-95C0-91227069BB1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3206813A-ED37-4F04-9A08-3831DDD6BB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3A553B85-8F03-43B5-948E-619DBDCC8A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2714873-5AC2-4854-8CA5-FD1065A92D6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6A93031C-D2B7-4E4A-8339-07F9C62A964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7DD7EF6D-9BDB-4A52-8DB3-55606FEA79B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2F963E5C-521D-4B5B-A6EA-BC616C1E315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6DCC7B09-A569-4A81-95FD-6D7BA83D5CC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E06C9A1F-C2EC-45A8-80B4-023E5CBF6D6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55918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221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A53E31CE-58EF-4784-857E-7BFD1C963B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FBDC31BE-EE68-461A-959E-F47D7B2DEBF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7" name="Chart 11">
            <a:extLst>
              <a:ext uri="{FF2B5EF4-FFF2-40B4-BE49-F238E27FC236}">
                <a16:creationId xmlns:a16="http://schemas.microsoft.com/office/drawing/2014/main" id="{54B887CD-65BA-4F98-ABF8-C5528F4A6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800549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BD4E52B-9E55-400D-9F24-5E33B0790E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727434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77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3BCDD031-2AAD-4E0A-A39B-441704F8E0F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1E3E2EC-3E25-405C-A3AF-D8AF2182EC4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5408EBFF-CA38-4C87-BA28-B11A055538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A43A6577-86ED-4142-8C94-817C0867B29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939D6AF7-A78C-4386-89E4-F3B080C0C81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A5DEA41-A502-44BD-90FE-09D3ABB4638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CB575C42-D1CB-4C26-BD12-43C554950CE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93D4191-A6B3-4B62-B49C-1375C3963EB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2632B730-A14B-428E-8C62-53084F39766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3F829653-84BE-4EBC-AC11-ABC41297937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410486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ě hospitalizovaných pacientů 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2342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11">
            <a:extLst>
              <a:ext uri="{FF2B5EF4-FFF2-40B4-BE49-F238E27FC236}">
                <a16:creationId xmlns:a16="http://schemas.microsoft.com/office/drawing/2014/main" id="{4E8CECEA-3B52-4ACD-9554-59697980D4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890726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5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44B08C2F-C18A-4674-8737-6CAF4EEADD3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3B3875D-E4DB-4D08-8B8C-25D441730E5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D3E6149D-BB61-44FA-BC2A-747B3599E2B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3" name="Straight Connector 33">
              <a:extLst>
                <a:ext uri="{FF2B5EF4-FFF2-40B4-BE49-F238E27FC236}">
                  <a16:creationId xmlns:a16="http://schemas.microsoft.com/office/drawing/2014/main" id="{E5D685C0-565C-41F9-91FB-53DBA472FE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34">
              <a:extLst>
                <a:ext uri="{FF2B5EF4-FFF2-40B4-BE49-F238E27FC236}">
                  <a16:creationId xmlns:a16="http://schemas.microsoft.com/office/drawing/2014/main" id="{0F897F5C-F197-48BD-A04F-7A15E07F81D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abulka 2">
            <a:extLst>
              <a:ext uri="{FF2B5EF4-FFF2-40B4-BE49-F238E27FC236}">
                <a16:creationId xmlns:a16="http://schemas.microsoft.com/office/drawing/2014/main" id="{9AACB982-BD2E-499F-9C04-611DB8726E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745610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9" name="Skupina 18">
            <a:extLst>
              <a:ext uri="{FF2B5EF4-FFF2-40B4-BE49-F238E27FC236}">
                <a16:creationId xmlns:a16="http://schemas.microsoft.com/office/drawing/2014/main" id="{BB4D2BBB-679B-4350-AE65-5E0CD33D6BC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0" name="Přímá spojnice 19">
              <a:extLst>
                <a:ext uri="{FF2B5EF4-FFF2-40B4-BE49-F238E27FC236}">
                  <a16:creationId xmlns:a16="http://schemas.microsoft.com/office/drawing/2014/main" id="{AC3C73E9-0C2D-4CA9-8304-7A07616D94C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2D58ED6-6CF6-4CA9-B6FE-F5677B066C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E54229B-8AB1-43AF-B367-AB5F9FC91B4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49A36793-691D-4736-9102-0AEA738B466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7" name="TextovéPole 28">
              <a:extLst>
                <a:ext uri="{FF2B5EF4-FFF2-40B4-BE49-F238E27FC236}">
                  <a16:creationId xmlns:a16="http://schemas.microsoft.com/office/drawing/2014/main" id="{DF01BF73-A285-4718-B310-E8131C38032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405589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5. 2021)</a:t>
            </a:r>
          </a:p>
        </p:txBody>
      </p:sp>
      <p:graphicFrame>
        <p:nvGraphicFramePr>
          <p:cNvPr id="66" name="Chart 11">
            <a:extLst>
              <a:ext uri="{FF2B5EF4-FFF2-40B4-BE49-F238E27FC236}">
                <a16:creationId xmlns:a16="http://schemas.microsoft.com/office/drawing/2014/main" id="{E998496D-9785-414D-9E73-85D9A50D5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058505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TextBox 14">
            <a:extLst>
              <a:ext uri="{FF2B5EF4-FFF2-40B4-BE49-F238E27FC236}">
                <a16:creationId xmlns:a16="http://schemas.microsoft.com/office/drawing/2014/main" id="{7AC7BDF5-B998-41CB-9230-FA4E431427F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8" name="TextBox 31">
            <a:extLst>
              <a:ext uri="{FF2B5EF4-FFF2-40B4-BE49-F238E27FC236}">
                <a16:creationId xmlns:a16="http://schemas.microsoft.com/office/drawing/2014/main" id="{A36A07BC-E5D3-4ADE-AEFF-D8315075E2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9" name="Skupina 68">
            <a:extLst>
              <a:ext uri="{FF2B5EF4-FFF2-40B4-BE49-F238E27FC236}">
                <a16:creationId xmlns:a16="http://schemas.microsoft.com/office/drawing/2014/main" id="{861785F9-6256-45AC-B532-CDF1E64ADE6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70" name="Straight Connector 33">
              <a:extLst>
                <a:ext uri="{FF2B5EF4-FFF2-40B4-BE49-F238E27FC236}">
                  <a16:creationId xmlns:a16="http://schemas.microsoft.com/office/drawing/2014/main" id="{7E68C059-06EE-4F65-8218-DE7E6FFC5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34">
              <a:extLst>
                <a:ext uri="{FF2B5EF4-FFF2-40B4-BE49-F238E27FC236}">
                  <a16:creationId xmlns:a16="http://schemas.microsoft.com/office/drawing/2014/main" id="{ACA3907C-8B10-435F-840D-7EC51AB7447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BC5A2205-E3AB-494A-ACF0-8722C42EF3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610378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8C6C8AE-A9B0-4AA6-9659-550CB7E388E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42AF88B0-E831-4329-B030-0CDC94C84F0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37993237-507B-470A-A5AF-41B19C224DD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7F51E15B-F950-47AE-8BD5-7B0E883FDA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3DA03FE-FE9D-4588-B7B6-EDBC2370AB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43FE57AE-F2A1-4A15-8973-ECF6B79F552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460DFB1B-8B32-41E3-B94C-F43B8D2662F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81730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11" name="TextBox 31">
            <a:extLst>
              <a:ext uri="{FF2B5EF4-FFF2-40B4-BE49-F238E27FC236}">
                <a16:creationId xmlns:a16="http://schemas.microsoft.com/office/drawing/2014/main" id="{4EF629FA-FAD4-4ADE-A7DF-346A828B23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4E5A0889-8AFA-4629-94B0-900D4866651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29" name="Straight Connector 33">
              <a:extLst>
                <a:ext uri="{FF2B5EF4-FFF2-40B4-BE49-F238E27FC236}">
                  <a16:creationId xmlns:a16="http://schemas.microsoft.com/office/drawing/2014/main" id="{0795BD6D-8565-489C-9B85-3CA018E2FF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4">
              <a:extLst>
                <a:ext uri="{FF2B5EF4-FFF2-40B4-BE49-F238E27FC236}">
                  <a16:creationId xmlns:a16="http://schemas.microsoft.com/office/drawing/2014/main" id="{2C441BBC-C381-4FA8-AF35-F6754043A8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12434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B6A75EC-3926-4242-B70D-0FFF7DAFF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942947"/>
              </p:ext>
            </p:extLst>
          </p:nvPr>
        </p:nvGraphicFramePr>
        <p:xfrm>
          <a:off x="4600953" y="1108510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36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13" name="Skupina 12">
            <a:extLst>
              <a:ext uri="{FF2B5EF4-FFF2-40B4-BE49-F238E27FC236}">
                <a16:creationId xmlns:a16="http://schemas.microsoft.com/office/drawing/2014/main" id="{62312458-65A0-441F-908E-931BC7FD4A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29A2643E-C480-4509-934F-D08252F8F5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AD1B3FBA-E128-4E3B-A481-9ABC867903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D47DC97C-FD01-4FD4-8BED-64EC65B6A8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DFC9795-934F-42BA-94E7-2B7FA4872E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18" name="TextovéPole 28">
              <a:extLst>
                <a:ext uri="{FF2B5EF4-FFF2-40B4-BE49-F238E27FC236}">
                  <a16:creationId xmlns:a16="http://schemas.microsoft.com/office/drawing/2014/main" id="{0C5C1E54-12C3-4C62-B831-4C6047793E0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876788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E4ED3497-005E-4D28-B4DD-95E910E466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470429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865BE95-CE74-437A-9C9F-EDB147734F0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E74E43A-43ED-4DF3-AAD7-4387BB996216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1298CED1-9641-4382-AEE1-870D58594A5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0259E04-2AA6-4F8D-9C25-54622C056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1F76A192-491B-4A8B-A54F-BCA22879136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5964732-7D22-4ABE-87D3-9C8DB90D4C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92903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A08838B-5F8A-4B17-9660-39B82DC155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F7F8853-20BB-476B-A35A-F5340F3611C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C5994A1-F81A-4198-A5DC-37ECCB02299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45053D5-0B31-4B62-B1CA-8673DA5C48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D7AD14D-C757-4C1B-9817-C61E2353118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1D0E1151-C415-4883-B6EB-41F5AB7F31C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DAB38C79-2F4E-4A6B-96A1-DEB22DE0367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341987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49D6916-5B73-49D0-989C-7AAB9782B4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719139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67B8D3-83E4-46A7-8BE6-E24017E2C78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1C339311-F3FC-45AA-BA93-50AF7FA9062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82846070-8B03-4926-974C-C10BADAE85E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0E192DDD-124F-404B-950F-42C4342BE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29CF046E-E7F1-449A-8361-776140BB71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D5864EE-A793-4DF2-85A3-AE009AEE1F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647282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C2686244-9F54-47C6-89F5-F033B2CC632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C6051794-49CF-408D-8765-C46D3823E9AA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360870E-4057-4E4E-B6B1-58AF1327AE6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F4CED8C-1837-469E-9DA4-9A0A681B1F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4600971F-A5F6-450D-A597-1EF97FC5AA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C60E34BB-6F75-4F3D-ACE7-F4C75487F49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C10ADF93-3B24-45DF-A5CA-11E646A3776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68558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3D880E9-87C9-499C-8E1C-7F64548C62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91626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1B654A-5077-4428-AD2A-B0213639195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AF47D3F-A169-45DA-8EE2-DADF6BF9D7D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A433CE2A-6D08-4014-839B-3059C27C830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7" name="Straight Connector 33">
              <a:extLst>
                <a:ext uri="{FF2B5EF4-FFF2-40B4-BE49-F238E27FC236}">
                  <a16:creationId xmlns:a16="http://schemas.microsoft.com/office/drawing/2014/main" id="{89218DD9-F47F-451B-BF26-43F9D5505C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34">
              <a:extLst>
                <a:ext uri="{FF2B5EF4-FFF2-40B4-BE49-F238E27FC236}">
                  <a16:creationId xmlns:a16="http://schemas.microsoft.com/office/drawing/2014/main" id="{2F35E33F-E668-46F7-A16A-FA904F946D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41FB61BE-E59B-4222-9C00-2069F527A3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366018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74FA14C7-FADD-4771-AE4B-63505ABA05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D2408AD-A84A-4CDB-8DF6-6263AD05BD2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13196242-C9E0-49BC-B011-BA6CA472929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30033A33-5F4B-4BCD-AD69-14824D0FF7B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20EAB785-6D5A-4FBB-9B54-FC51DF1D37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68B67B13-BEE2-42AF-9A1E-E9D3BDD92CF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9" name="TextovéPole 28">
              <a:extLst>
                <a:ext uri="{FF2B5EF4-FFF2-40B4-BE49-F238E27FC236}">
                  <a16:creationId xmlns:a16="http://schemas.microsoft.com/office/drawing/2014/main" id="{9EFB329A-9ACB-40CA-8189-F4F1AAC4375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010872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6C191E5-1DBC-437D-844B-3B6A8EA478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92599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E2D955D9-E409-437E-8523-D0D93850C28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0FB6CB7-3018-460E-880B-A99DA2B060D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70134A8-5DA2-474B-8DA8-611C05DBF16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4921DE7-7A38-43A8-ABFB-D52CA545F5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A0EAAC2-267A-4CA3-B6BF-B35B5C7079F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A4EE8AA-4F26-4134-AF2B-E8812DE518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849343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54C6B676-8E91-49E5-8B7A-C31DDC16387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C783FC0-AE14-4AC3-905E-6FB3052F76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069530F8-4502-4ED1-89F9-F2088B04DFE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28CE893A-2F3B-43AB-A0A8-1FF60B08C98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CD1DE93-B466-45D9-91E4-F44C7CC459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AACC741-E37F-49DF-AB63-DD18A543DCCD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01507707-63B5-41FB-86CC-C3CA2E7F48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776805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D924F2-AA92-45A3-84B7-C5775C83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9309492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2FB8DF6D-ADDA-437C-A69B-1A524D1180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EC7C7F78-5E46-47A8-86B3-D6F0B274EC6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AC9E4FF3-408E-4A25-A8D7-31BF2DB163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5070B0D7-B42F-4DC1-8D2F-ABD0E92B40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7FB4F5DD-3B97-4DA0-86CC-EAC7FA9871C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E73FF2F6-464F-40F2-8706-1825F36B4A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422009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DD2C0C9-9F1D-47E1-B86E-A14E5D64379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FF40E52-E2E6-4922-B08F-25FF482D218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C332FC-3BD8-4048-BD36-23E9CF32E41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054DCBF9-7720-4C67-AD69-F7D81C203D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C4CD47D-E7F2-402E-969E-6CEADD2FC8C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18460B8C-8646-4EFF-AC7D-FB622E5682D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C9F80566-52B1-4EDF-B747-C711B558A4F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4396571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90F9077-8C85-44A0-B0BB-D14D523B7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415574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BE3E1450-4AF5-48CF-89D5-9E060A5EC22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A1DDEB2B-507F-4632-B1D4-41F842E012A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324535D6-D0C4-475A-ABDE-16D0326725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B352A2BE-8547-4728-A867-5FEA06CE10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8F492A41-D465-4EC7-BB13-8E8543193CC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21B399A1-A87E-45CE-958C-5F4E4ECD74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659209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40E50C5B-A218-4B33-8BF7-7D2C0EC1AAA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1F3C373F-CD7C-4C6B-8319-AAC22DF1DB9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93B4DC34-E7FA-455B-974D-5ECE78423E7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44E21CE-230B-486A-8D58-222E95EC2C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0D3C7E8-4ACD-4BD5-92F3-61BF99C864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A351EAA-556A-478D-93C8-6E3602D3A1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F99461C1-8007-4689-A9DF-AB15A3DD952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418356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FC55D502-39AC-4943-8479-5E7A1EB107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597288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106E2B65-1636-4931-8D3C-DD6DE676E7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86D2666-71D8-4721-99A2-1F809E538FC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3AC4D30-974D-4C05-8832-654271F386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806C150-DFE3-46F2-B395-1809D63019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2A43E0D-91F5-46E7-A662-12133053BCA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ED47F18B-2D7D-4D57-8EE2-EC59A2C9F5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39326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1C72880-B0C1-4414-ABF0-84B5FE7CC62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A36DB5C-4F46-45B7-918A-9F5969A8752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FF010BB-C0C6-4573-B630-89C127BE44C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A0E24D0-FF41-4199-A71C-8E4B36DA0ED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94190E07-0D9C-4ABD-A0E1-6BFDE8FA508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C99DA574-8CE3-4D92-9D83-6A9D9252380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7D8DEFE0-B750-4A2C-B249-A3DD8AF870B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274621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C033B7C-26AB-4DC6-9B39-95145B680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101545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D34CCD73-002D-4229-AE99-E698E154C44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4DC0D1D-9DC8-4852-AFEF-9BFFDFB9226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2A0538D5-DAD1-4A8D-8175-4BEDE8690A46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7DE867E5-16BC-461D-9BCF-E8B6CF8EC07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C341B48D-235B-4DE9-B63D-903736D5647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B58DD307-1B7A-4731-9FA5-AAEA91FD78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507254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FC9D91E-011D-4F50-B8C4-88F01D4EE62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F211423C-9744-45B1-A426-F45D5BF7472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BBCDA6E7-4BA2-481D-BE81-E90EE38B1E1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2E74FB7A-7C34-4489-B7BF-A0EB8264EB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EA567E05-04F6-454A-AD1C-B03CECB2DE0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80D0F847-5A14-45DE-86FE-744A18CA4F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A76AB375-4B70-4B29-8134-7A818EC0504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6812138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5. 2021)</a:t>
            </a:r>
          </a:p>
        </p:txBody>
      </p:sp>
      <p:graphicFrame>
        <p:nvGraphicFramePr>
          <p:cNvPr id="43" name="Chart 11">
            <a:extLst>
              <a:ext uri="{FF2B5EF4-FFF2-40B4-BE49-F238E27FC236}">
                <a16:creationId xmlns:a16="http://schemas.microsoft.com/office/drawing/2014/main" id="{277460B5-9376-4B3C-9228-43EB4B43CB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38076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A3DD7205-BB53-4CA9-9B8C-DC1EA76DB5B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10DBCC7E-81F8-4081-AFB7-7B947371A31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9168D78-DB35-403E-9B02-F9E36AF9716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8" name="Straight Connector 33">
              <a:extLst>
                <a:ext uri="{FF2B5EF4-FFF2-40B4-BE49-F238E27FC236}">
                  <a16:creationId xmlns:a16="http://schemas.microsoft.com/office/drawing/2014/main" id="{027741C1-F380-4C90-88AC-D0BA78A684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34">
              <a:extLst>
                <a:ext uri="{FF2B5EF4-FFF2-40B4-BE49-F238E27FC236}">
                  <a16:creationId xmlns:a16="http://schemas.microsoft.com/office/drawing/2014/main" id="{CA4DF4F0-7444-481F-8D52-F3159A9AAFF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479E539E-C2DA-41EA-B566-CDA645A466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776189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288DAC46-3FF6-462E-A0AD-4D3816ECCD1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0E491EE6-4FAB-4DFB-9E81-B9DE364D35E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4B56280-D4D4-453B-8DAA-814D432BE4B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9B39FB2-954F-4BA3-A2ED-924C9481629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3AC3207-D191-4BA7-A7EE-22CAFCB7F6F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8870DC43-3737-49E3-9E04-7047BCFF491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F54A9485-DF18-4D7E-9BD6-E6F206AC42A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008720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16C4A62-2A58-4D54-BE91-5BF8A30703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907597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86490F37-2ABB-47C3-BCFC-6242166A71D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983F39D-EB4F-4218-AFDC-3F302D447C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40D1BB21-396C-46AD-B4D2-D59ED9AB6B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25EE07FD-8434-4759-8290-8077054CA7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AB95A466-8835-46BE-B145-10A6665E7BF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2D3A1577-26D5-4A33-9798-92A3333DD7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94070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99E68E34-6657-47E2-A9D9-42368462AA8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79D6D545-7CF1-4C5B-8B01-9630D7264B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9B044B0-90F1-4EC2-B3EB-2924DEADC95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0E28E33-092D-4035-9C4F-BD67A59E4B4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4C1F11E-933D-4893-AEDC-4E6ED460FC6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0ED263FA-4A78-4E47-9D06-1EF9D094907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0F67A533-2D89-4FBA-9C3E-5CB397F7755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12707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400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12126DC-CB63-4F50-9BE3-FD79DD2C75D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1" name="TextBox 31">
            <a:extLst>
              <a:ext uri="{FF2B5EF4-FFF2-40B4-BE49-F238E27FC236}">
                <a16:creationId xmlns:a16="http://schemas.microsoft.com/office/drawing/2014/main" id="{E88FF69C-1BFD-4C49-8F7F-4020357ADB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46" name="Chart 11">
            <a:extLst>
              <a:ext uri="{FF2B5EF4-FFF2-40B4-BE49-F238E27FC236}">
                <a16:creationId xmlns:a16="http://schemas.microsoft.com/office/drawing/2014/main" id="{7C23ADE8-9D8A-4C0D-96DB-7D6C4DAED9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128466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FF841C99-8585-4026-AA37-64EEFB33C6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224363"/>
              </p:ext>
            </p:extLst>
          </p:nvPr>
        </p:nvGraphicFramePr>
        <p:xfrm>
          <a:off x="4620619" y="1109265"/>
          <a:ext cx="5144400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4400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8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9887B2-9D95-4745-890A-F4E7DF3AD6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1343FDE8-9F72-4255-8028-BBBD66DC5BE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C9FB7FF1-C877-428D-BE80-527D73BFBE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5E352447-F2EA-4CF0-9875-3ADFF118E52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9F83471B-2A77-4419-876C-9465125FA21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43899485-B99D-45A8-85FB-CF9983023ED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F6F8FC81-B62A-42D2-BF33-039046051F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0AA574A3-D8E9-4C3C-B080-FEA486C937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569970B4-A327-4A9B-9191-A2E2ACB7E4F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8" name="TextovéPole 28">
              <a:extLst>
                <a:ext uri="{FF2B5EF4-FFF2-40B4-BE49-F238E27FC236}">
                  <a16:creationId xmlns:a16="http://schemas.microsoft.com/office/drawing/2014/main" id="{DF0DE440-3649-44C0-BD6E-51A99532AF6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1857440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8FDBC2A4-1FFC-40D3-BE29-1A2110955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415665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A9180848-8ACE-4662-A6B8-4D1FEF90765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13E50F7-08A3-4165-90F1-A27AC818271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9169900-DCD9-4FEE-8186-25F907B3BE4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CEA555DC-A8CA-4F13-B7D3-89F353AE6D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035D31DD-748D-4B4F-A33A-0EF91CBEC7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725C284-6DF4-4577-9376-C8759F63F7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88479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083DDF63-6E55-4454-AB6D-CDB9607CD1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465E1F17-54BE-463A-9281-A47F0ADB369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620676B-7AE5-4A37-AE11-775D92B77F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DCF40675-09D1-489D-816F-BDDD3C310D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217B8CD8-0181-4910-85E8-1D070DF5A1F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6A9EEFD0-8140-4C61-A4EB-E9AEA7744BA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90E21325-AB39-464C-ACBE-772C9DE891F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435225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5. 2021)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0950AD9F-B546-4431-8A00-70BDA6608D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728146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14">
            <a:extLst>
              <a:ext uri="{FF2B5EF4-FFF2-40B4-BE49-F238E27FC236}">
                <a16:creationId xmlns:a16="http://schemas.microsoft.com/office/drawing/2014/main" id="{7E86086D-FE3A-4D31-821A-B1D5427492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5349A3B2-DBE1-4265-A696-1067DB77B4B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EFEACAA7-6473-4082-96E1-3E2DF3E9952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47" name="Straight Connector 33">
              <a:extLst>
                <a:ext uri="{FF2B5EF4-FFF2-40B4-BE49-F238E27FC236}">
                  <a16:creationId xmlns:a16="http://schemas.microsoft.com/office/drawing/2014/main" id="{6C9395D9-DD2B-4A86-9F9F-4B7163BC82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34">
              <a:extLst>
                <a:ext uri="{FF2B5EF4-FFF2-40B4-BE49-F238E27FC236}">
                  <a16:creationId xmlns:a16="http://schemas.microsoft.com/office/drawing/2014/main" id="{DD0770AE-98B6-46CD-940C-CB34591384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75E090F-3591-4144-8967-E360EBDA40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333832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A942174F-4C39-48D2-BA86-A2DF2028D9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38416CF1-57FF-4BDE-BCCC-E7D054549DF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95C61DB0-4919-4D39-9C50-1AAE7CBC50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46D5CA7-4AE6-48A9-944B-B5A7649B59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9A8F3148-2302-497E-AA54-66F202DFDC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B82AE49-FB21-468E-AD87-E0BC9E297E9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9A5CB3CF-6C12-411F-A11B-4EA1F90A9163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5359310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kumulativní počet od 1. 5. 2021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6AD4197-14F6-4F74-A0B3-04FE1D8BD236}"/>
              </a:ext>
            </a:extLst>
          </p:cNvPr>
          <p:cNvSpPr txBox="1"/>
          <p:nvPr/>
        </p:nvSpPr>
        <p:spPr>
          <a:xfrm>
            <a:off x="276125" y="1018804"/>
            <a:ext cx="870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5. 2021)</a:t>
            </a:r>
          </a:p>
        </p:txBody>
      </p:sp>
      <p:graphicFrame>
        <p:nvGraphicFramePr>
          <p:cNvPr id="59" name="Chart 11">
            <a:extLst>
              <a:ext uri="{FF2B5EF4-FFF2-40B4-BE49-F238E27FC236}">
                <a16:creationId xmlns:a16="http://schemas.microsoft.com/office/drawing/2014/main" id="{066FEF38-C65D-4C45-9E6B-FD56DCF6DD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270557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TextBox 14">
            <a:extLst>
              <a:ext uri="{FF2B5EF4-FFF2-40B4-BE49-F238E27FC236}">
                <a16:creationId xmlns:a16="http://schemas.microsoft.com/office/drawing/2014/main" id="{1CDFEF0A-0459-4DFE-8B3A-59484C30EA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61" name="TextBox 31">
            <a:extLst>
              <a:ext uri="{FF2B5EF4-FFF2-40B4-BE49-F238E27FC236}">
                <a16:creationId xmlns:a16="http://schemas.microsoft.com/office/drawing/2014/main" id="{5DC1231B-4B30-46A0-B908-B6CD982BF20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7C4D77EA-5533-4177-9978-5314CD4C56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63" name="Straight Connector 33">
              <a:extLst>
                <a:ext uri="{FF2B5EF4-FFF2-40B4-BE49-F238E27FC236}">
                  <a16:creationId xmlns:a16="http://schemas.microsoft.com/office/drawing/2014/main" id="{E2ABF8A2-3164-406D-A404-6839B96112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34">
              <a:extLst>
                <a:ext uri="{FF2B5EF4-FFF2-40B4-BE49-F238E27FC236}">
                  <a16:creationId xmlns:a16="http://schemas.microsoft.com/office/drawing/2014/main" id="{28D2DDB2-2153-4F1D-9B59-21FE95E6B84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B523BFF-D001-4702-BB98-BE30C8A0BA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729975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B2AA16C2-1332-4E1D-98F2-964151E8414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2D114591-794C-4510-B3F0-3D8EAE7B2AD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15EED98-4129-4C25-BF77-CAED778F9C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680F60E-1474-4184-8E35-0A34A4F8620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4B6C1B3-D963-47BD-B29E-5A206BBC54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7223022E-9249-4188-AE04-537FF9DABC3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3F35BF9A-C52E-4E49-AE25-44AC6B5FB66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45651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95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C59ECBB6-41A1-4BA9-B10E-8433AC0C61E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9DEAAE62-1B5A-4C59-A583-32677EF54463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D845260F-76F3-4DC0-92CA-9A8A6F5F1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046770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E089AA93-0E5E-4E61-BC3B-F385864E07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7896138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84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64F6401-436D-4679-B42E-1630A0ADC7A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9BAC029-9A8A-44F9-AB29-539FE30A646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A2898D22-8CCB-4342-ACA6-BA4DD97D49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FED92FB9-383C-4F6D-A915-641764B9556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DB681DA9-68F3-47C3-9F89-66DAAF918B5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7AC5603-FB03-4CD4-8369-0B050902E9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29EDB3E-77B0-41CE-934E-DE90D5CBB2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32020308-DACC-4C71-B1A1-84F81D07934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26A56844-3781-4CEF-A708-5FE9C026548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98F9C585-A342-4DE8-9768-D3EA36478AC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285501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571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F9119BC4-926B-46AD-B41B-FF443C334A8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0D93AD84-1868-4865-B2E3-6656A0AA351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C75B57B6-4CC4-47ED-A03F-DEB7D6B2AF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154739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6F68F0CA-9FE6-43AD-9FB5-0A9F8A6F16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950054"/>
              </p:ext>
            </p:extLst>
          </p:nvPr>
        </p:nvGraphicFramePr>
        <p:xfrm>
          <a:off x="462109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51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80ACF59-42E0-4341-B2E1-5B6643F0B2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4857EE0-5019-4D49-B545-0A923CD259F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F8795035-C057-463A-B64A-310384281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C9691BC-5D62-485F-B678-7CC6FC5A7F4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6E5B4CCA-75B1-496F-B5FF-9435E63A8D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FDDF296-C219-44B7-99B7-AB8F6731AFC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4760E749-2CA8-42B1-B536-3B3ED481B0A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417B40B4-D40B-45B5-99D0-2D4BE2ECB2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6A921AA6-1A51-41F9-94E4-F2F7BBA6E3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D7DC2065-ED29-4E21-BF02-468781A3224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10128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3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D70139D7-F2E5-41A5-AC4E-9F0123C750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E30A9BCE-FD53-4812-8550-89923ACAB98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B33C1E1B-08DF-40E7-9EDA-3E2F9058C5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258130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E32ED864-AD0A-4B49-B82F-C8D820305C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943692"/>
              </p:ext>
            </p:extLst>
          </p:nvPr>
        </p:nvGraphicFramePr>
        <p:xfrm>
          <a:off x="4617578" y="111676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49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55A17E5-D307-4225-8441-C26B45FF157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84786E8A-9D35-42F8-B82B-1488C5D6C65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F21D191-DFD8-4EE8-B8A0-D811A1027C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3C7325A3-A958-4842-9031-71B4E723873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BF128CDA-E4E8-4916-880F-F22CF1EBB05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F6331CF-01C0-4F0A-9E63-90409721DB3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A5EC4777-9BE3-4470-9ABB-C4C8503D6D3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FC446740-DF9A-4CC9-9F86-ADB4D33004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C75563B1-66F2-4171-B959-2FF67E79E47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85DC9DD6-CC34-4BF9-8A59-9D4788F542F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310856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76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2E62DF0C-C6D3-4467-8F83-683C79B50AB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842475C9-3430-4801-B2E6-E70086C5945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2B6DDC4-A66D-4B11-B66A-3446CB89F0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7076078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7EFC73DF-43B6-4FC7-9AE8-E67BBEA987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2114342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117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5F4E587-E3D0-437F-AA85-7B2CF67D622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9D3A1633-6A41-4776-AAE7-4A36BC8C605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1E884930-EBDF-4B85-9C17-10237A26A1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A84B0515-47FB-45CB-943B-0B25571ED9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364B5D69-BAF2-4ED6-ADD9-F35C9EEE8C8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1C5433B7-EE91-4D04-87B7-1846F3D8F1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2F80028-53ED-4263-92D1-CA22882B532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82276320-CCFE-40AD-9116-665F0324B9E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78DE2925-E000-431E-BADE-05F9695224B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2B1AEF50-03DC-4CF2-BFAC-05A158902E8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312286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>
            <p:custDataLst>
              <p:tags r:id="rId1"/>
            </p:custDataLst>
          </p:nvPr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64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sp>
        <p:nvSpPr>
          <p:cNvPr id="29" name="TextBox 14">
            <a:extLst>
              <a:ext uri="{FF2B5EF4-FFF2-40B4-BE49-F238E27FC236}">
                <a16:creationId xmlns:a16="http://schemas.microsoft.com/office/drawing/2014/main" id="{FBA101FA-B76B-483A-800B-E717409FC3B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BF1FA180-0E5A-4B38-BF3F-DFB1C02570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2B5B8727-0E3C-4968-B333-F295467EC1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049579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A07E346-DA2E-488C-B072-BD522B9E6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0103544"/>
              </p:ext>
            </p:extLst>
          </p:nvPr>
        </p:nvGraphicFramePr>
        <p:xfrm>
          <a:off x="4617577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37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5759F066-96FD-47E6-9DA9-9C4B25E904E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F58D2B0A-4748-4C5E-9A99-9C4E0DDEC5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31B01C49-276B-4BAD-873F-52C547E9ED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55C018C1-A741-4EC1-8F35-0E189797E31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A4B8090-DB73-47F5-86ED-FA71D7A84B5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5AEA4D72-6634-47BE-A794-1D4D8479B30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8FFE9992-A1C6-4896-AD0F-BFAF4C163E2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413B6B3A-F920-4809-9F96-E002A86DDF6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B0412DF-DC94-4275-924E-1BBC7A733EB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614DC01A-175E-4C4C-A039-549FD56AEAE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310910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celkového počtu hospitalizací – aktuální počet léčených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EC32A99-42BE-4940-9598-96DD1BD4CA66}"/>
              </a:ext>
            </a:extLst>
          </p:cNvPr>
          <p:cNvSpPr txBox="1"/>
          <p:nvPr/>
        </p:nvSpPr>
        <p:spPr>
          <a:xfrm>
            <a:off x="276126" y="1018804"/>
            <a:ext cx="1647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AC0B4195-E499-4EAD-9168-A66E81D002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9" name="TextBox 31">
            <a:extLst>
              <a:ext uri="{FF2B5EF4-FFF2-40B4-BE49-F238E27FC236}">
                <a16:creationId xmlns:a16="http://schemas.microsoft.com/office/drawing/2014/main" id="{C45C9AA8-80AD-402D-A245-E8AC18E0969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ED58F901-FACD-44BF-A427-21B383CA4C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12198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08B9176-2AB9-4A0E-B85C-1AD402D223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3937793"/>
              </p:ext>
            </p:extLst>
          </p:nvPr>
        </p:nvGraphicFramePr>
        <p:xfrm>
          <a:off x="4617578" y="1114007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283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79FBE73C-2D25-44CC-9F1D-23BD890351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4A805658-6367-47EC-B992-16D067A7566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483401" y="1017375"/>
            <a:ext cx="3502394" cy="951327"/>
            <a:chOff x="6462419" y="1469144"/>
            <a:chExt cx="3502394" cy="951327"/>
          </a:xfrm>
        </p:grpSpPr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9021FAB7-6C78-407F-9A23-9405B864A9D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4">
              <a:extLst>
                <a:ext uri="{FF2B5EF4-FFF2-40B4-BE49-F238E27FC236}">
                  <a16:creationId xmlns:a16="http://schemas.microsoft.com/office/drawing/2014/main" id="{2AFCF194-027A-42D9-9059-E09C4DCCDAB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392C981E-AFE4-466B-AADF-52CD62AE3CD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18487B2-978F-47FB-9CEA-7CCAA992E25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7A1DAC91-E407-4A0B-B597-4B62C733DCA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DDCD263F-4385-4EAA-B9A7-6328F08A4AA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6C3A3CA1-99B0-4ADE-BF56-F2C1A599124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9FAEFBC3-257A-4616-B2B6-A2FC108EDF4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83429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</TotalTime>
  <Words>1885</Words>
  <Application>Microsoft Office PowerPoint</Application>
  <PresentationFormat>Širokoúhlá obrazovka</PresentationFormat>
  <Paragraphs>347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3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Zouharová Anna Bc.</cp:lastModifiedBy>
  <cp:revision>134</cp:revision>
  <dcterms:created xsi:type="dcterms:W3CDTF">2021-03-07T17:05:03Z</dcterms:created>
  <dcterms:modified xsi:type="dcterms:W3CDTF">2021-06-11T17:46:22Z</dcterms:modified>
</cp:coreProperties>
</file>